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4">
  <p:sldMasterIdLst>
    <p:sldMasterId id="2147483670" r:id="rId4"/>
    <p:sldMasterId id="2147483720" r:id="rId5"/>
    <p:sldMasterId id="2147483883" r:id="rId6"/>
  </p:sldMasterIdLst>
  <p:notesMasterIdLst>
    <p:notesMasterId r:id="rId59"/>
  </p:notesMasterIdLst>
  <p:sldIdLst>
    <p:sldId id="462" r:id="rId7"/>
    <p:sldId id="482" r:id="rId8"/>
    <p:sldId id="587" r:id="rId9"/>
    <p:sldId id="588" r:id="rId10"/>
    <p:sldId id="589" r:id="rId11"/>
    <p:sldId id="590" r:id="rId12"/>
    <p:sldId id="591" r:id="rId13"/>
    <p:sldId id="592" r:id="rId14"/>
    <p:sldId id="593" r:id="rId15"/>
    <p:sldId id="594" r:id="rId16"/>
    <p:sldId id="595" r:id="rId17"/>
    <p:sldId id="596" r:id="rId18"/>
    <p:sldId id="490" r:id="rId19"/>
    <p:sldId id="565" r:id="rId20"/>
    <p:sldId id="566" r:id="rId21"/>
    <p:sldId id="567" r:id="rId22"/>
    <p:sldId id="568" r:id="rId23"/>
    <p:sldId id="569" r:id="rId24"/>
    <p:sldId id="586" r:id="rId25"/>
    <p:sldId id="570" r:id="rId26"/>
    <p:sldId id="571" r:id="rId27"/>
    <p:sldId id="572" r:id="rId28"/>
    <p:sldId id="573" r:id="rId29"/>
    <p:sldId id="574" r:id="rId30"/>
    <p:sldId id="494" r:id="rId31"/>
    <p:sldId id="497" r:id="rId32"/>
    <p:sldId id="511" r:id="rId33"/>
    <p:sldId id="512" r:id="rId34"/>
    <p:sldId id="513" r:id="rId35"/>
    <p:sldId id="514" r:id="rId36"/>
    <p:sldId id="515" r:id="rId37"/>
    <p:sldId id="516" r:id="rId38"/>
    <p:sldId id="517" r:id="rId39"/>
    <p:sldId id="498" r:id="rId40"/>
    <p:sldId id="495" r:id="rId41"/>
    <p:sldId id="491" r:id="rId42"/>
    <p:sldId id="532" r:id="rId43"/>
    <p:sldId id="575" r:id="rId44"/>
    <p:sldId id="578" r:id="rId45"/>
    <p:sldId id="579" r:id="rId46"/>
    <p:sldId id="581" r:id="rId47"/>
    <p:sldId id="582" r:id="rId48"/>
    <p:sldId id="583" r:id="rId49"/>
    <p:sldId id="584" r:id="rId50"/>
    <p:sldId id="585" r:id="rId51"/>
    <p:sldId id="558" r:id="rId52"/>
    <p:sldId id="559" r:id="rId53"/>
    <p:sldId id="560" r:id="rId54"/>
    <p:sldId id="561" r:id="rId55"/>
    <p:sldId id="563" r:id="rId56"/>
    <p:sldId id="562" r:id="rId57"/>
    <p:sldId id="580" r:id="rId58"/>
  </p:sldIdLst>
  <p:sldSz cx="12192000" cy="6858000"/>
  <p:notesSz cx="6858000" cy="9144000"/>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5B09"/>
    <a:srgbClr val="00FF00"/>
    <a:srgbClr val="007400"/>
    <a:srgbClr val="006600"/>
    <a:srgbClr val="008000"/>
    <a:srgbClr val="FAD894"/>
    <a:srgbClr val="FFFF66"/>
    <a:srgbClr val="3F5E8A"/>
    <a:srgbClr val="7FA0AB"/>
    <a:srgbClr val="D7E5F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147" autoAdjust="0"/>
    <p:restoredTop sz="86900" autoAdjust="0"/>
  </p:normalViewPr>
  <p:slideViewPr>
    <p:cSldViewPr snapToGrid="0">
      <p:cViewPr varScale="1">
        <p:scale>
          <a:sx n="60" d="100"/>
          <a:sy n="60" d="100"/>
        </p:scale>
        <p:origin x="1050" y="6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3" d="100"/>
          <a:sy n="53" d="100"/>
        </p:scale>
        <p:origin x="2844" y="8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5" Type="http://schemas.openxmlformats.org/officeDocument/2006/relationships/slideMaster" Target="slideMasters/slideMaster2.xml"/><Relationship Id="rId61" Type="http://schemas.openxmlformats.org/officeDocument/2006/relationships/viewProps" Target="viewProp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microsoft.com/office/2016/11/relationships/changesInfo" Target="changesInfos/changesInfo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notesMaster" Target="notesMasters/notesMaster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JANDRO HENAO LOAIZA" userId="5287a34c-202a-4b47-a331-6bf4067a52ab" providerId="ADAL" clId="{62C187B1-0810-4EEB-9C87-1A8C2B866AE7}"/>
    <pc:docChg chg="undo custSel addSld delSld modSld sldOrd">
      <pc:chgData name="ALEJANDRO HENAO LOAIZA" userId="5287a34c-202a-4b47-a331-6bf4067a52ab" providerId="ADAL" clId="{62C187B1-0810-4EEB-9C87-1A8C2B866AE7}" dt="2017-10-11T16:15:54" v="405"/>
      <pc:docMkLst>
        <pc:docMk/>
      </pc:docMkLst>
      <pc:sldChg chg="addSp delSp modAnim">
        <pc:chgData name="ALEJANDRO HENAO LOAIZA" userId="5287a34c-202a-4b47-a331-6bf4067a52ab" providerId="ADAL" clId="{62C187B1-0810-4EEB-9C87-1A8C2B866AE7}" dt="2017-10-11T16:01:00.120" v="343"/>
        <pc:sldMkLst>
          <pc:docMk/>
          <pc:sldMk cId="3344970276" sldId="336"/>
        </pc:sldMkLst>
        <pc:picChg chg="add del">
          <ac:chgData name="ALEJANDRO HENAO LOAIZA" userId="5287a34c-202a-4b47-a331-6bf4067a52ab" providerId="ADAL" clId="{62C187B1-0810-4EEB-9C87-1A8C2B866AE7}" dt="2017-10-11T16:01:00.120" v="343"/>
          <ac:picMkLst>
            <pc:docMk/>
            <pc:sldMk cId="3344970276" sldId="336"/>
            <ac:picMk id="21" creationId="{383C7BDC-2CBE-4AE7-A880-F1B7F7A1CC33}"/>
          </ac:picMkLst>
        </pc:picChg>
      </pc:sldChg>
      <pc:sldChg chg="addSp delSp modSp modAnim">
        <pc:chgData name="ALEJANDRO HENAO LOAIZA" userId="5287a34c-202a-4b47-a331-6bf4067a52ab" providerId="ADAL" clId="{62C187B1-0810-4EEB-9C87-1A8C2B866AE7}" dt="2017-10-11T16:14:39.047" v="404" actId="688"/>
        <pc:sldMkLst>
          <pc:docMk/>
          <pc:sldMk cId="87527195" sldId="341"/>
        </pc:sldMkLst>
        <pc:spChg chg="mod">
          <ac:chgData name="ALEJANDRO HENAO LOAIZA" userId="5287a34c-202a-4b47-a331-6bf4067a52ab" providerId="ADAL" clId="{62C187B1-0810-4EEB-9C87-1A8C2B866AE7}" dt="2017-10-11T15:58:38.833" v="326" actId="1076"/>
          <ac:spMkLst>
            <pc:docMk/>
            <pc:sldMk cId="87527195" sldId="341"/>
            <ac:spMk id="8" creationId="{00000000-0000-0000-0000-000000000000}"/>
          </ac:spMkLst>
        </pc:spChg>
        <pc:spChg chg="del mod topLvl">
          <ac:chgData name="ALEJANDRO HENAO LOAIZA" userId="5287a34c-202a-4b47-a331-6bf4067a52ab" providerId="ADAL" clId="{62C187B1-0810-4EEB-9C87-1A8C2B866AE7}" dt="2017-10-11T15:59:40.799" v="332" actId="478"/>
          <ac:spMkLst>
            <pc:docMk/>
            <pc:sldMk cId="87527195" sldId="341"/>
            <ac:spMk id="20" creationId="{00000000-0000-0000-0000-000000000000}"/>
          </ac:spMkLst>
        </pc:spChg>
        <pc:spChg chg="del">
          <ac:chgData name="ALEJANDRO HENAO LOAIZA" userId="5287a34c-202a-4b47-a331-6bf4067a52ab" providerId="ADAL" clId="{62C187B1-0810-4EEB-9C87-1A8C2B866AE7}" dt="2017-10-11T15:50:12.665" v="13" actId="478"/>
          <ac:spMkLst>
            <pc:docMk/>
            <pc:sldMk cId="87527195" sldId="341"/>
            <ac:spMk id="21" creationId="{00000000-0000-0000-0000-000000000000}"/>
          </ac:spMkLst>
        </pc:spChg>
        <pc:spChg chg="del">
          <ac:chgData name="ALEJANDRO HENAO LOAIZA" userId="5287a34c-202a-4b47-a331-6bf4067a52ab" providerId="ADAL" clId="{62C187B1-0810-4EEB-9C87-1A8C2B866AE7}" dt="2017-10-11T15:56:20.503" v="246" actId="478"/>
          <ac:spMkLst>
            <pc:docMk/>
            <pc:sldMk cId="87527195" sldId="341"/>
            <ac:spMk id="22" creationId="{0F48E48A-E260-4E8A-92FD-F2D8A68E0AE5}"/>
          </ac:spMkLst>
        </pc:spChg>
        <pc:spChg chg="add mod">
          <ac:chgData name="ALEJANDRO HENAO LOAIZA" userId="5287a34c-202a-4b47-a331-6bf4067a52ab" providerId="ADAL" clId="{62C187B1-0810-4EEB-9C87-1A8C2B866AE7}" dt="2017-10-11T16:14:39.047" v="404" actId="688"/>
          <ac:spMkLst>
            <pc:docMk/>
            <pc:sldMk cId="87527195" sldId="341"/>
            <ac:spMk id="23" creationId="{B0E512BF-1005-4443-B386-76E5EC6216BF}"/>
          </ac:spMkLst>
        </pc:spChg>
        <pc:spChg chg="del mod topLvl">
          <ac:chgData name="ALEJANDRO HENAO LOAIZA" userId="5287a34c-202a-4b47-a331-6bf4067a52ab" providerId="ADAL" clId="{62C187B1-0810-4EEB-9C87-1A8C2B866AE7}" dt="2017-10-11T15:56:08.952" v="245" actId="478"/>
          <ac:spMkLst>
            <pc:docMk/>
            <pc:sldMk cId="87527195" sldId="341"/>
            <ac:spMk id="27" creationId="{ADE318AC-686C-482A-8A7B-BB764092E7F8}"/>
          </ac:spMkLst>
        </pc:spChg>
        <pc:spChg chg="del">
          <ac:chgData name="ALEJANDRO HENAO LOAIZA" userId="5287a34c-202a-4b47-a331-6bf4067a52ab" providerId="ADAL" clId="{62C187B1-0810-4EEB-9C87-1A8C2B866AE7}" dt="2017-10-11T15:50:17.289" v="14" actId="478"/>
          <ac:spMkLst>
            <pc:docMk/>
            <pc:sldMk cId="87527195" sldId="341"/>
            <ac:spMk id="29" creationId="{ADE318AC-686C-482A-8A7B-BB764092E7F8}"/>
          </ac:spMkLst>
        </pc:spChg>
        <pc:grpChg chg="del">
          <ac:chgData name="ALEJANDRO HENAO LOAIZA" userId="5287a34c-202a-4b47-a331-6bf4067a52ab" providerId="ADAL" clId="{62C187B1-0810-4EEB-9C87-1A8C2B866AE7}" dt="2017-10-11T15:50:09.425" v="12" actId="478"/>
          <ac:grpSpMkLst>
            <pc:docMk/>
            <pc:sldMk cId="87527195" sldId="341"/>
            <ac:grpSpMk id="4" creationId="{00000000-0000-0000-0000-000000000000}"/>
          </ac:grpSpMkLst>
        </pc:grpChg>
        <pc:grpChg chg="add del mod">
          <ac:chgData name="ALEJANDRO HENAO LOAIZA" userId="5287a34c-202a-4b47-a331-6bf4067a52ab" providerId="ADAL" clId="{62C187B1-0810-4EEB-9C87-1A8C2B866AE7}" dt="2017-10-11T15:56:08.952" v="245" actId="478"/>
          <ac:grpSpMkLst>
            <pc:docMk/>
            <pc:sldMk cId="87527195" sldId="341"/>
            <ac:grpSpMk id="5" creationId="{5DE41D5C-AC41-49CF-874E-6971C1B987EE}"/>
          </ac:grpSpMkLst>
        </pc:grpChg>
        <pc:picChg chg="add mod">
          <ac:chgData name="ALEJANDRO HENAO LOAIZA" userId="5287a34c-202a-4b47-a331-6bf4067a52ab" providerId="ADAL" clId="{62C187B1-0810-4EEB-9C87-1A8C2B866AE7}" dt="2017-10-11T16:04:29.334" v="392" actId="1076"/>
          <ac:picMkLst>
            <pc:docMk/>
            <pc:sldMk cId="87527195" sldId="341"/>
            <ac:picMk id="24" creationId="{C9BF39E0-351F-42B6-B548-A2D6F2C3902A}"/>
          </ac:picMkLst>
        </pc:picChg>
        <pc:picChg chg="add mod">
          <ac:chgData name="ALEJANDRO HENAO LOAIZA" userId="5287a34c-202a-4b47-a331-6bf4067a52ab" providerId="ADAL" clId="{62C187B1-0810-4EEB-9C87-1A8C2B866AE7}" dt="2017-10-11T16:05:48.697" v="394" actId="14861"/>
          <ac:picMkLst>
            <pc:docMk/>
            <pc:sldMk cId="87527195" sldId="341"/>
            <ac:picMk id="25" creationId="{546F2AFC-B40A-400D-A102-879761C25AF7}"/>
          </ac:picMkLst>
        </pc:picChg>
        <pc:picChg chg="add mod">
          <ac:chgData name="ALEJANDRO HENAO LOAIZA" userId="5287a34c-202a-4b47-a331-6bf4067a52ab" providerId="ADAL" clId="{62C187B1-0810-4EEB-9C87-1A8C2B866AE7}" dt="2017-10-11T16:13:36.644" v="402" actId="1076"/>
          <ac:picMkLst>
            <pc:docMk/>
            <pc:sldMk cId="87527195" sldId="341"/>
            <ac:picMk id="54274" creationId="{0CCA1B48-23CA-4B06-A4C4-0E73A0644320}"/>
          </ac:picMkLst>
        </pc:picChg>
      </pc:sldChg>
      <pc:sldChg chg="ord">
        <pc:chgData name="ALEJANDRO HENAO LOAIZA" userId="5287a34c-202a-4b47-a331-6bf4067a52ab" providerId="ADAL" clId="{62C187B1-0810-4EEB-9C87-1A8C2B866AE7}" dt="2017-10-11T16:15:54" v="405"/>
        <pc:sldMkLst>
          <pc:docMk/>
          <pc:sldMk cId="1617884504" sldId="344"/>
        </pc:sldMkLst>
      </pc:sldChg>
      <pc:sldChg chg="del">
        <pc:chgData name="ALEJANDRO HENAO LOAIZA" userId="5287a34c-202a-4b47-a331-6bf4067a52ab" providerId="ADAL" clId="{62C187B1-0810-4EEB-9C87-1A8C2B866AE7}" dt="2017-10-11T15:58:06.507" v="324" actId="2696"/>
        <pc:sldMkLst>
          <pc:docMk/>
          <pc:sldMk cId="1684036918" sldId="353"/>
        </pc:sldMkLst>
      </pc:sldChg>
      <pc:sldChg chg="addSp delSp modSp add del">
        <pc:chgData name="ALEJANDRO HENAO LOAIZA" userId="5287a34c-202a-4b47-a331-6bf4067a52ab" providerId="ADAL" clId="{62C187B1-0810-4EEB-9C87-1A8C2B866AE7}" dt="2017-10-11T15:58:08.178" v="325" actId="2696"/>
        <pc:sldMkLst>
          <pc:docMk/>
          <pc:sldMk cId="605519764" sldId="354"/>
        </pc:sldMkLst>
        <pc:spChg chg="del">
          <ac:chgData name="ALEJANDRO HENAO LOAIZA" userId="5287a34c-202a-4b47-a331-6bf4067a52ab" providerId="ADAL" clId="{62C187B1-0810-4EEB-9C87-1A8C2B866AE7}" dt="2017-10-11T15:41:13.987" v="2" actId="478"/>
          <ac:spMkLst>
            <pc:docMk/>
            <pc:sldMk cId="605519764" sldId="354"/>
            <ac:spMk id="2" creationId="{FEB15863-5BBE-453F-B140-2469578D2F2E}"/>
          </ac:spMkLst>
        </pc:spChg>
        <pc:picChg chg="add del mod">
          <ac:chgData name="ALEJANDRO HENAO LOAIZA" userId="5287a34c-202a-4b47-a331-6bf4067a52ab" providerId="ADAL" clId="{62C187B1-0810-4EEB-9C87-1A8C2B866AE7}" dt="2017-10-11T15:42:22.564" v="9" actId="478"/>
          <ac:picMkLst>
            <pc:docMk/>
            <pc:sldMk cId="605519764" sldId="354"/>
            <ac:picMk id="4" creationId="{2DCAD1C4-F94A-4E31-AB84-3BCA4815BFF1}"/>
          </ac:picMkLst>
        </pc:picChg>
        <pc:picChg chg="add mod">
          <ac:chgData name="ALEJANDRO HENAO LOAIZA" userId="5287a34c-202a-4b47-a331-6bf4067a52ab" providerId="ADAL" clId="{62C187B1-0810-4EEB-9C87-1A8C2B866AE7}" dt="2017-10-11T15:42:31.117" v="11" actId="27614"/>
          <ac:picMkLst>
            <pc:docMk/>
            <pc:sldMk cId="605519764" sldId="354"/>
            <ac:picMk id="6" creationId="{6422F639-CF71-4C25-B13B-69A98E2D7F06}"/>
          </ac:picMkLst>
        </pc:picChg>
      </pc:sldChg>
    </pc:docChg>
  </pc:docChgLst>
  <pc:docChgLst>
    <pc:chgData name="ALEJANDRO HENAO LOAIZA" userId="5287a34c-202a-4b47-a331-6bf4067a52ab" providerId="ADAL" clId="{3507066E-96AF-4C78-9E42-F3ED11FB4296}"/>
    <pc:docChg chg="undo custSel addSld delSld modSld sldOrd">
      <pc:chgData name="ALEJANDRO HENAO LOAIZA" userId="5287a34c-202a-4b47-a331-6bf4067a52ab" providerId="ADAL" clId="{3507066E-96AF-4C78-9E42-F3ED11FB4296}" dt="2017-10-03T00:26:10.171" v="1302" actId="1076"/>
      <pc:docMkLst>
        <pc:docMk/>
      </pc:docMkLst>
      <pc:sldChg chg="ord">
        <pc:chgData name="ALEJANDRO HENAO LOAIZA" userId="5287a34c-202a-4b47-a331-6bf4067a52ab" providerId="ADAL" clId="{3507066E-96AF-4C78-9E42-F3ED11FB4296}" dt="2017-10-03T00:11:56.786" v="1215" actId="1076"/>
        <pc:sldMkLst>
          <pc:docMk/>
          <pc:sldMk cId="4027737531" sldId="266"/>
        </pc:sldMkLst>
      </pc:sldChg>
      <pc:sldChg chg="del">
        <pc:chgData name="ALEJANDRO HENAO LOAIZA" userId="5287a34c-202a-4b47-a331-6bf4067a52ab" providerId="ADAL" clId="{3507066E-96AF-4C78-9E42-F3ED11FB4296}" dt="2017-10-03T00:14:09.817" v="1274" actId="2696"/>
        <pc:sldMkLst>
          <pc:docMk/>
          <pc:sldMk cId="1250203376" sldId="277"/>
        </pc:sldMkLst>
      </pc:sldChg>
      <pc:sldChg chg="addSp delSp modSp">
        <pc:chgData name="ALEJANDRO HENAO LOAIZA" userId="5287a34c-202a-4b47-a331-6bf4067a52ab" providerId="ADAL" clId="{3507066E-96AF-4C78-9E42-F3ED11FB4296}" dt="2017-10-03T00:26:10.171" v="1302" actId="1076"/>
        <pc:sldMkLst>
          <pc:docMk/>
          <pc:sldMk cId="1143582595" sldId="331"/>
        </pc:sldMkLst>
        <pc:spChg chg="mod">
          <ac:chgData name="ALEJANDRO HENAO LOAIZA" userId="5287a34c-202a-4b47-a331-6bf4067a52ab" providerId="ADAL" clId="{3507066E-96AF-4C78-9E42-F3ED11FB4296}" dt="2017-10-03T00:26:10.171" v="1302" actId="1076"/>
          <ac:spMkLst>
            <pc:docMk/>
            <pc:sldMk cId="1143582595" sldId="331"/>
            <ac:spMk id="2" creationId="{00000000-0000-0000-0000-000000000000}"/>
          </ac:spMkLst>
        </pc:spChg>
        <pc:picChg chg="add mod">
          <ac:chgData name="ALEJANDRO HENAO LOAIZA" userId="5287a34c-202a-4b47-a331-6bf4067a52ab" providerId="ADAL" clId="{3507066E-96AF-4C78-9E42-F3ED11FB4296}" dt="2017-10-03T00:25:54.930" v="1300" actId="1076"/>
          <ac:picMkLst>
            <pc:docMk/>
            <pc:sldMk cId="1143582595" sldId="331"/>
            <ac:picMk id="5" creationId="{32957519-5BBD-4119-B0EF-4A46CA9D79A2}"/>
          </ac:picMkLst>
        </pc:picChg>
        <pc:picChg chg="mod">
          <ac:chgData name="ALEJANDRO HENAO LOAIZA" userId="5287a34c-202a-4b47-a331-6bf4067a52ab" providerId="ADAL" clId="{3507066E-96AF-4C78-9E42-F3ED11FB4296}" dt="2017-10-03T00:25:46.784" v="1298" actId="1076"/>
          <ac:picMkLst>
            <pc:docMk/>
            <pc:sldMk cId="1143582595" sldId="331"/>
            <ac:picMk id="6" creationId="{00000000-0000-0000-0000-000000000000}"/>
          </ac:picMkLst>
        </pc:picChg>
        <pc:picChg chg="del">
          <ac:chgData name="ALEJANDRO HENAO LOAIZA" userId="5287a34c-202a-4b47-a331-6bf4067a52ab" providerId="ADAL" clId="{3507066E-96AF-4C78-9E42-F3ED11FB4296}" dt="2017-10-03T00:24:37.606" v="1285" actId="478"/>
          <ac:picMkLst>
            <pc:docMk/>
            <pc:sldMk cId="1143582595" sldId="331"/>
            <ac:picMk id="7" creationId="{00000000-0000-0000-0000-000000000000}"/>
          </ac:picMkLst>
        </pc:picChg>
      </pc:sldChg>
      <pc:sldChg chg="addSp modSp">
        <pc:chgData name="ALEJANDRO HENAO LOAIZA" userId="5287a34c-202a-4b47-a331-6bf4067a52ab" providerId="ADAL" clId="{3507066E-96AF-4C78-9E42-F3ED11FB4296}" dt="2017-10-02T23:10:00.600" v="558" actId="1038"/>
        <pc:sldMkLst>
          <pc:docMk/>
          <pc:sldMk cId="4232443314" sldId="332"/>
        </pc:sldMkLst>
        <pc:spChg chg="mod">
          <ac:chgData name="ALEJANDRO HENAO LOAIZA" userId="5287a34c-202a-4b47-a331-6bf4067a52ab" providerId="ADAL" clId="{3507066E-96AF-4C78-9E42-F3ED11FB4296}" dt="2017-10-02T23:07:31.171" v="546" actId="20577"/>
          <ac:spMkLst>
            <pc:docMk/>
            <pc:sldMk cId="4232443314" sldId="332"/>
            <ac:spMk id="2" creationId="{00000000-0000-0000-0000-000000000000}"/>
          </ac:spMkLst>
        </pc:spChg>
        <pc:picChg chg="add mod">
          <ac:chgData name="ALEJANDRO HENAO LOAIZA" userId="5287a34c-202a-4b47-a331-6bf4067a52ab" providerId="ADAL" clId="{3507066E-96AF-4C78-9E42-F3ED11FB4296}" dt="2017-10-02T23:10:00.600" v="558" actId="1038"/>
          <ac:picMkLst>
            <pc:docMk/>
            <pc:sldMk cId="4232443314" sldId="332"/>
            <ac:picMk id="19" creationId="{F6644035-9697-4325-814F-5DAFAC4981A8}"/>
          </ac:picMkLst>
        </pc:picChg>
      </pc:sldChg>
      <pc:sldChg chg="del">
        <pc:chgData name="ALEJANDRO HENAO LOAIZA" userId="5287a34c-202a-4b47-a331-6bf4067a52ab" providerId="ADAL" clId="{3507066E-96AF-4C78-9E42-F3ED11FB4296}" dt="2017-10-03T00:12:02.897" v="1216" actId="2696"/>
        <pc:sldMkLst>
          <pc:docMk/>
          <pc:sldMk cId="643945170" sldId="334"/>
        </pc:sldMkLst>
      </pc:sldChg>
      <pc:sldChg chg="modSp modAnim">
        <pc:chgData name="ALEJANDRO HENAO LOAIZA" userId="5287a34c-202a-4b47-a331-6bf4067a52ab" providerId="ADAL" clId="{3507066E-96AF-4C78-9E42-F3ED11FB4296}" dt="2017-10-03T00:10:24.383" v="1213" actId="20577"/>
        <pc:sldMkLst>
          <pc:docMk/>
          <pc:sldMk cId="1151406707" sldId="335"/>
        </pc:sldMkLst>
        <pc:spChg chg="mod">
          <ac:chgData name="ALEJANDRO HENAO LOAIZA" userId="5287a34c-202a-4b47-a331-6bf4067a52ab" providerId="ADAL" clId="{3507066E-96AF-4C78-9E42-F3ED11FB4296}" dt="2017-10-03T00:05:12.434" v="1129" actId="20577"/>
          <ac:spMkLst>
            <pc:docMk/>
            <pc:sldMk cId="1151406707" sldId="335"/>
            <ac:spMk id="46" creationId="{00000000-0000-0000-0000-000000000000}"/>
          </ac:spMkLst>
        </pc:spChg>
        <pc:spChg chg="mod">
          <ac:chgData name="ALEJANDRO HENAO LOAIZA" userId="5287a34c-202a-4b47-a331-6bf4067a52ab" providerId="ADAL" clId="{3507066E-96AF-4C78-9E42-F3ED11FB4296}" dt="2017-10-03T00:10:24.383" v="1213" actId="20577"/>
          <ac:spMkLst>
            <pc:docMk/>
            <pc:sldMk cId="1151406707" sldId="335"/>
            <ac:spMk id="58" creationId="{00000000-0000-0000-0000-000000000000}"/>
          </ac:spMkLst>
        </pc:spChg>
      </pc:sldChg>
      <pc:sldChg chg="addSp delSp modSp modAnim">
        <pc:chgData name="ALEJANDRO HENAO LOAIZA" userId="5287a34c-202a-4b47-a331-6bf4067a52ab" providerId="ADAL" clId="{3507066E-96AF-4C78-9E42-F3ED11FB4296}" dt="2017-10-03T00:16:49.664" v="1282" actId="20577"/>
        <pc:sldMkLst>
          <pc:docMk/>
          <pc:sldMk cId="3344970276" sldId="336"/>
        </pc:sldMkLst>
        <pc:spChg chg="mod">
          <ac:chgData name="ALEJANDRO HENAO LOAIZA" userId="5287a34c-202a-4b47-a331-6bf4067a52ab" providerId="ADAL" clId="{3507066E-96AF-4C78-9E42-F3ED11FB4296}" dt="2017-10-02T23:16:25.291" v="842" actId="20577"/>
          <ac:spMkLst>
            <pc:docMk/>
            <pc:sldMk cId="3344970276" sldId="336"/>
            <ac:spMk id="3" creationId="{00000000-0000-0000-0000-000000000000}"/>
          </ac:spMkLst>
        </pc:spChg>
        <pc:spChg chg="add del mod">
          <ac:chgData name="ALEJANDRO HENAO LOAIZA" userId="5287a34c-202a-4b47-a331-6bf4067a52ab" providerId="ADAL" clId="{3507066E-96AF-4C78-9E42-F3ED11FB4296}" dt="2017-10-02T23:28:37.336" v="925" actId="478"/>
          <ac:spMkLst>
            <pc:docMk/>
            <pc:sldMk cId="3344970276" sldId="336"/>
            <ac:spMk id="4" creationId="{DE7F06BB-6FD3-4A19-BC10-7756E991FD78}"/>
          </ac:spMkLst>
        </pc:spChg>
        <pc:spChg chg="add mod">
          <ac:chgData name="ALEJANDRO HENAO LOAIZA" userId="5287a34c-202a-4b47-a331-6bf4067a52ab" providerId="ADAL" clId="{3507066E-96AF-4C78-9E42-F3ED11FB4296}" dt="2017-10-02T23:31:08.632" v="966" actId="1038"/>
          <ac:spMkLst>
            <pc:docMk/>
            <pc:sldMk cId="3344970276" sldId="336"/>
            <ac:spMk id="8" creationId="{3ACD5B0B-8E72-45D3-AA36-D2A7BE04D3AC}"/>
          </ac:spMkLst>
        </pc:spChg>
        <pc:spChg chg="add mod">
          <ac:chgData name="ALEJANDRO HENAO LOAIZA" userId="5287a34c-202a-4b47-a331-6bf4067a52ab" providerId="ADAL" clId="{3507066E-96AF-4C78-9E42-F3ED11FB4296}" dt="2017-10-03T00:01:14.959" v="1127" actId="20577"/>
          <ac:spMkLst>
            <pc:docMk/>
            <pc:sldMk cId="3344970276" sldId="336"/>
            <ac:spMk id="10" creationId="{0F48E48A-E260-4E8A-92FD-F2D8A68E0AE5}"/>
          </ac:spMkLst>
        </pc:spChg>
        <pc:spChg chg="add mod">
          <ac:chgData name="ALEJANDRO HENAO LOAIZA" userId="5287a34c-202a-4b47-a331-6bf4067a52ab" providerId="ADAL" clId="{3507066E-96AF-4C78-9E42-F3ED11FB4296}" dt="2017-10-02T23:36:35.619" v="1025" actId="20577"/>
          <ac:spMkLst>
            <pc:docMk/>
            <pc:sldMk cId="3344970276" sldId="336"/>
            <ac:spMk id="11" creationId="{74BF0097-FDFB-48DC-95BB-1227349E50A3}"/>
          </ac:spMkLst>
        </pc:spChg>
        <pc:spChg chg="del">
          <ac:chgData name="ALEJANDRO HENAO LOAIZA" userId="5287a34c-202a-4b47-a331-6bf4067a52ab" providerId="ADAL" clId="{3507066E-96AF-4C78-9E42-F3ED11FB4296}" dt="2017-10-02T23:10:24.248" v="559" actId="478"/>
          <ac:spMkLst>
            <pc:docMk/>
            <pc:sldMk cId="3344970276" sldId="336"/>
            <ac:spMk id="12" creationId="{00000000-0000-0000-0000-000000000000}"/>
          </ac:spMkLst>
        </pc:spChg>
        <pc:spChg chg="add del mod">
          <ac:chgData name="ALEJANDRO HENAO LOAIZA" userId="5287a34c-202a-4b47-a331-6bf4067a52ab" providerId="ADAL" clId="{3507066E-96AF-4C78-9E42-F3ED11FB4296}" dt="2017-10-02T23:28:37.336" v="925" actId="478"/>
          <ac:spMkLst>
            <pc:docMk/>
            <pc:sldMk cId="3344970276" sldId="336"/>
            <ac:spMk id="14" creationId="{412F86D0-469B-4EE0-965B-22BDB0749DFD}"/>
          </ac:spMkLst>
        </pc:spChg>
        <pc:spChg chg="add mod">
          <ac:chgData name="ALEJANDRO HENAO LOAIZA" userId="5287a34c-202a-4b47-a331-6bf4067a52ab" providerId="ADAL" clId="{3507066E-96AF-4C78-9E42-F3ED11FB4296}" dt="2017-10-03T00:08:20.328" v="1203" actId="20577"/>
          <ac:spMkLst>
            <pc:docMk/>
            <pc:sldMk cId="3344970276" sldId="336"/>
            <ac:spMk id="15" creationId="{F25F8D87-78E7-4A8D-AB01-5538ECA5AD97}"/>
          </ac:spMkLst>
        </pc:spChg>
        <pc:spChg chg="add mod">
          <ac:chgData name="ALEJANDRO HENAO LOAIZA" userId="5287a34c-202a-4b47-a331-6bf4067a52ab" providerId="ADAL" clId="{3507066E-96AF-4C78-9E42-F3ED11FB4296}" dt="2017-10-02T23:31:02.518" v="963" actId="20577"/>
          <ac:spMkLst>
            <pc:docMk/>
            <pc:sldMk cId="3344970276" sldId="336"/>
            <ac:spMk id="16" creationId="{BDF4E325-C219-4B0E-85BC-6BAE1A5D1B60}"/>
          </ac:spMkLst>
        </pc:spChg>
        <pc:spChg chg="add mod">
          <ac:chgData name="ALEJANDRO HENAO LOAIZA" userId="5287a34c-202a-4b47-a331-6bf4067a52ab" providerId="ADAL" clId="{3507066E-96AF-4C78-9E42-F3ED11FB4296}" dt="2017-10-02T23:31:02.518" v="963" actId="20577"/>
          <ac:spMkLst>
            <pc:docMk/>
            <pc:sldMk cId="3344970276" sldId="336"/>
            <ac:spMk id="17" creationId="{571C0C23-A0F9-4C52-95CE-1C52FD0888B3}"/>
          </ac:spMkLst>
        </pc:spChg>
        <pc:spChg chg="add mod">
          <ac:chgData name="ALEJANDRO HENAO LOAIZA" userId="5287a34c-202a-4b47-a331-6bf4067a52ab" providerId="ADAL" clId="{3507066E-96AF-4C78-9E42-F3ED11FB4296}" dt="2017-10-02T23:31:19.971" v="970" actId="14100"/>
          <ac:spMkLst>
            <pc:docMk/>
            <pc:sldMk cId="3344970276" sldId="336"/>
            <ac:spMk id="18" creationId="{0AC30489-202D-427A-89E2-6EDB9505C18C}"/>
          </ac:spMkLst>
        </pc:spChg>
        <pc:spChg chg="add mod">
          <ac:chgData name="ALEJANDRO HENAO LOAIZA" userId="5287a34c-202a-4b47-a331-6bf4067a52ab" providerId="ADAL" clId="{3507066E-96AF-4C78-9E42-F3ED11FB4296}" dt="2017-10-02T23:31:30.823" v="972" actId="1076"/>
          <ac:spMkLst>
            <pc:docMk/>
            <pc:sldMk cId="3344970276" sldId="336"/>
            <ac:spMk id="19" creationId="{2DA40F5C-719D-4199-B6B3-ABCECB5F1650}"/>
          </ac:spMkLst>
        </pc:spChg>
        <pc:spChg chg="add mod">
          <ac:chgData name="ALEJANDRO HENAO LOAIZA" userId="5287a34c-202a-4b47-a331-6bf4067a52ab" providerId="ADAL" clId="{3507066E-96AF-4C78-9E42-F3ED11FB4296}" dt="2017-10-02T23:31:40.944" v="976" actId="1076"/>
          <ac:spMkLst>
            <pc:docMk/>
            <pc:sldMk cId="3344970276" sldId="336"/>
            <ac:spMk id="20" creationId="{13A5C606-4099-4A40-B123-D7B0DADFD94F}"/>
          </ac:spMkLst>
        </pc:spChg>
        <pc:spChg chg="add del mod">
          <ac:chgData name="ALEJANDRO HENAO LOAIZA" userId="5287a34c-202a-4b47-a331-6bf4067a52ab" providerId="ADAL" clId="{3507066E-96AF-4C78-9E42-F3ED11FB4296}" dt="2017-10-02T23:45:32.317" v="1046" actId="478"/>
          <ac:spMkLst>
            <pc:docMk/>
            <pc:sldMk cId="3344970276" sldId="336"/>
            <ac:spMk id="22" creationId="{76975325-C9C9-4FAA-80EB-7A772DE81C6A}"/>
          </ac:spMkLst>
        </pc:spChg>
        <pc:spChg chg="add del mod">
          <ac:chgData name="ALEJANDRO HENAO LOAIZA" userId="5287a34c-202a-4b47-a331-6bf4067a52ab" providerId="ADAL" clId="{3507066E-96AF-4C78-9E42-F3ED11FB4296}" dt="2017-10-02T23:48:55.377" v="1090" actId="478"/>
          <ac:spMkLst>
            <pc:docMk/>
            <pc:sldMk cId="3344970276" sldId="336"/>
            <ac:spMk id="23" creationId="{01908C51-13D6-4276-97F8-2EDBA2A1FF14}"/>
          </ac:spMkLst>
        </pc:spChg>
        <pc:spChg chg="add mod">
          <ac:chgData name="ALEJANDRO HENAO LOAIZA" userId="5287a34c-202a-4b47-a331-6bf4067a52ab" providerId="ADAL" clId="{3507066E-96AF-4C78-9E42-F3ED11FB4296}" dt="2017-10-03T00:16:49.664" v="1282" actId="20577"/>
          <ac:spMkLst>
            <pc:docMk/>
            <pc:sldMk cId="3344970276" sldId="336"/>
            <ac:spMk id="24" creationId="{744CAF24-D854-41A3-A4CF-D83A7E748992}"/>
          </ac:spMkLst>
        </pc:spChg>
        <pc:picChg chg="del mod">
          <ac:chgData name="ALEJANDRO HENAO LOAIZA" userId="5287a34c-202a-4b47-a331-6bf4067a52ab" providerId="ADAL" clId="{3507066E-96AF-4C78-9E42-F3ED11FB4296}" dt="2017-10-02T23:11:36.392" v="566" actId="478"/>
          <ac:picMkLst>
            <pc:docMk/>
            <pc:sldMk cId="3344970276" sldId="336"/>
            <ac:picMk id="6" creationId="{00000000-0000-0000-0000-000000000000}"/>
          </ac:picMkLst>
        </pc:picChg>
        <pc:picChg chg="mod">
          <ac:chgData name="ALEJANDRO HENAO LOAIZA" userId="5287a34c-202a-4b47-a331-6bf4067a52ab" providerId="ADAL" clId="{3507066E-96AF-4C78-9E42-F3ED11FB4296}" dt="2017-10-02T23:18:29.084" v="899" actId="1035"/>
          <ac:picMkLst>
            <pc:docMk/>
            <pc:sldMk cId="3344970276" sldId="336"/>
            <ac:picMk id="7" creationId="{00000000-0000-0000-0000-000000000000}"/>
          </ac:picMkLst>
        </pc:picChg>
        <pc:picChg chg="add mod">
          <ac:chgData name="ALEJANDRO HENAO LOAIZA" userId="5287a34c-202a-4b47-a331-6bf4067a52ab" providerId="ADAL" clId="{3507066E-96AF-4C78-9E42-F3ED11FB4296}" dt="2017-10-02T23:18:18.953" v="883" actId="1076"/>
          <ac:picMkLst>
            <pc:docMk/>
            <pc:sldMk cId="3344970276" sldId="336"/>
            <ac:picMk id="13" creationId="{C462CDAA-937E-45BC-81D1-6FD229C48EAD}"/>
          </ac:picMkLst>
        </pc:picChg>
        <pc:picChg chg="add mod">
          <ac:chgData name="ALEJANDRO HENAO LOAIZA" userId="5287a34c-202a-4b47-a331-6bf4067a52ab" providerId="ADAL" clId="{3507066E-96AF-4C78-9E42-F3ED11FB4296}" dt="2017-10-02T23:32:04.438" v="978" actId="1076"/>
          <ac:picMkLst>
            <pc:docMk/>
            <pc:sldMk cId="3344970276" sldId="336"/>
            <ac:picMk id="21" creationId="{383C7BDC-2CBE-4AE7-A880-F1B7F7A1CC33}"/>
          </ac:picMkLst>
        </pc:picChg>
        <pc:picChg chg="add mod modCrop">
          <ac:chgData name="ALEJANDRO HENAO LOAIZA" userId="5287a34c-202a-4b47-a331-6bf4067a52ab" providerId="ADAL" clId="{3507066E-96AF-4C78-9E42-F3ED11FB4296}" dt="2017-10-02T23:47:41.248" v="1084" actId="1076"/>
          <ac:picMkLst>
            <pc:docMk/>
            <pc:sldMk cId="3344970276" sldId="336"/>
            <ac:picMk id="66562" creationId="{6E564FB0-28E1-4090-9986-1972D691598F}"/>
          </ac:picMkLst>
        </pc:picChg>
      </pc:sldChg>
      <pc:sldChg chg="addSp delSp modSp add del">
        <pc:chgData name="ALEJANDRO HENAO LOAIZA" userId="5287a34c-202a-4b47-a331-6bf4067a52ab" providerId="ADAL" clId="{3507066E-96AF-4C78-9E42-F3ED11FB4296}" dt="2017-10-02T21:18:59.034" v="351" actId="2696"/>
        <pc:sldMkLst>
          <pc:docMk/>
          <pc:sldMk cId="2973189394" sldId="337"/>
        </pc:sldMkLst>
        <pc:spChg chg="del">
          <ac:chgData name="ALEJANDRO HENAO LOAIZA" userId="5287a34c-202a-4b47-a331-6bf4067a52ab" providerId="ADAL" clId="{3507066E-96AF-4C78-9E42-F3ED11FB4296}" dt="2017-10-02T20:16:55.729" v="1" actId="478"/>
          <ac:spMkLst>
            <pc:docMk/>
            <pc:sldMk cId="2973189394" sldId="337"/>
            <ac:spMk id="2" creationId="{307F62E8-6A08-4BED-A071-E9AB87D57ECF}"/>
          </ac:spMkLst>
        </pc:spChg>
        <pc:spChg chg="add mod">
          <ac:chgData name="ALEJANDRO HENAO LOAIZA" userId="5287a34c-202a-4b47-a331-6bf4067a52ab" providerId="ADAL" clId="{3507066E-96AF-4C78-9E42-F3ED11FB4296}" dt="2017-10-02T21:17:10.636" v="338" actId="113"/>
          <ac:spMkLst>
            <pc:docMk/>
            <pc:sldMk cId="2973189394" sldId="337"/>
            <ac:spMk id="3" creationId="{D252DA70-6B62-42CE-8AC3-64BA24D5DA9E}"/>
          </ac:spMkLst>
        </pc:spChg>
        <pc:spChg chg="add mod">
          <ac:chgData name="ALEJANDRO HENAO LOAIZA" userId="5287a34c-202a-4b47-a331-6bf4067a52ab" providerId="ADAL" clId="{3507066E-96AF-4C78-9E42-F3ED11FB4296}" dt="2017-10-02T21:16:41.878" v="335" actId="14861"/>
          <ac:spMkLst>
            <pc:docMk/>
            <pc:sldMk cId="2973189394" sldId="337"/>
            <ac:spMk id="4" creationId="{72D5EAFF-38BA-407A-A720-5D172CC9F630}"/>
          </ac:spMkLst>
        </pc:spChg>
        <pc:spChg chg="add mod">
          <ac:chgData name="ALEJANDRO HENAO LOAIZA" userId="5287a34c-202a-4b47-a331-6bf4067a52ab" providerId="ADAL" clId="{3507066E-96AF-4C78-9E42-F3ED11FB4296}" dt="2017-10-02T21:16:41.878" v="335" actId="14861"/>
          <ac:spMkLst>
            <pc:docMk/>
            <pc:sldMk cId="2973189394" sldId="337"/>
            <ac:spMk id="5" creationId="{C20F367A-EB4A-42EF-92FA-4A3DDB9A9A2B}"/>
          </ac:spMkLst>
        </pc:spChg>
        <pc:spChg chg="add mod">
          <ac:chgData name="ALEJANDRO HENAO LOAIZA" userId="5287a34c-202a-4b47-a331-6bf4067a52ab" providerId="ADAL" clId="{3507066E-96AF-4C78-9E42-F3ED11FB4296}" dt="2017-10-02T21:16:41.878" v="335" actId="14861"/>
          <ac:spMkLst>
            <pc:docMk/>
            <pc:sldMk cId="2973189394" sldId="337"/>
            <ac:spMk id="6" creationId="{E3BB8A69-42EB-4B05-9E11-BA4E3EAD25F4}"/>
          </ac:spMkLst>
        </pc:spChg>
        <pc:spChg chg="add del mod">
          <ac:chgData name="ALEJANDRO HENAO LOAIZA" userId="5287a34c-202a-4b47-a331-6bf4067a52ab" providerId="ADAL" clId="{3507066E-96AF-4C78-9E42-F3ED11FB4296}" dt="2017-10-02T20:56:05.539" v="133" actId="2696"/>
          <ac:spMkLst>
            <pc:docMk/>
            <pc:sldMk cId="2973189394" sldId="337"/>
            <ac:spMk id="7" creationId="{CF8FE14B-EF5D-4638-9D16-64E10A91A85C}"/>
          </ac:spMkLst>
        </pc:spChg>
        <pc:spChg chg="add del mod">
          <ac:chgData name="ALEJANDRO HENAO LOAIZA" userId="5287a34c-202a-4b47-a331-6bf4067a52ab" providerId="ADAL" clId="{3507066E-96AF-4C78-9E42-F3ED11FB4296}" dt="2017-10-02T20:56:11.946" v="135" actId="478"/>
          <ac:spMkLst>
            <pc:docMk/>
            <pc:sldMk cId="2973189394" sldId="337"/>
            <ac:spMk id="8" creationId="{F2EC5021-EE23-424C-8DCD-557D5CFA6EBD}"/>
          </ac:spMkLst>
        </pc:spChg>
        <pc:spChg chg="add del mod">
          <ac:chgData name="ALEJANDRO HENAO LOAIZA" userId="5287a34c-202a-4b47-a331-6bf4067a52ab" providerId="ADAL" clId="{3507066E-96AF-4C78-9E42-F3ED11FB4296}" dt="2017-10-02T21:18:52.534" v="349" actId="2696"/>
          <ac:spMkLst>
            <pc:docMk/>
            <pc:sldMk cId="2973189394" sldId="337"/>
            <ac:spMk id="17" creationId="{FB43D740-163D-4967-A2CE-013B97BACCA9}"/>
          </ac:spMkLst>
        </pc:spChg>
        <pc:spChg chg="add del mod">
          <ac:chgData name="ALEJANDRO HENAO LOAIZA" userId="5287a34c-202a-4b47-a331-6bf4067a52ab" providerId="ADAL" clId="{3507066E-96AF-4C78-9E42-F3ED11FB4296}" dt="2017-10-02T21:18:52.534" v="349" actId="2696"/>
          <ac:spMkLst>
            <pc:docMk/>
            <pc:sldMk cId="2973189394" sldId="337"/>
            <ac:spMk id="18" creationId="{479EC39D-F2EB-4D26-8021-6352D20FE312}"/>
          </ac:spMkLst>
        </pc:spChg>
        <pc:spChg chg="add del mod">
          <ac:chgData name="ALEJANDRO HENAO LOAIZA" userId="5287a34c-202a-4b47-a331-6bf4067a52ab" providerId="ADAL" clId="{3507066E-96AF-4C78-9E42-F3ED11FB4296}" dt="2017-10-02T21:18:52.534" v="349" actId="2696"/>
          <ac:spMkLst>
            <pc:docMk/>
            <pc:sldMk cId="2973189394" sldId="337"/>
            <ac:spMk id="19" creationId="{DE2156AB-AC1F-478E-88CC-C6B7323BA490}"/>
          </ac:spMkLst>
        </pc:spChg>
        <pc:cxnChg chg="add mod">
          <ac:chgData name="ALEJANDRO HENAO LOAIZA" userId="5287a34c-202a-4b47-a331-6bf4067a52ab" providerId="ADAL" clId="{3507066E-96AF-4C78-9E42-F3ED11FB4296}" dt="2017-10-02T21:16:41.878" v="335" actId="14861"/>
          <ac:cxnSpMkLst>
            <pc:docMk/>
            <pc:sldMk cId="2973189394" sldId="337"/>
            <ac:cxnSpMk id="10" creationId="{3E156586-49C7-4FA7-BCF7-9EF3C744AE26}"/>
          </ac:cxnSpMkLst>
        </pc:cxnChg>
        <pc:cxnChg chg="add mod">
          <ac:chgData name="ALEJANDRO HENAO LOAIZA" userId="5287a34c-202a-4b47-a331-6bf4067a52ab" providerId="ADAL" clId="{3507066E-96AF-4C78-9E42-F3ED11FB4296}" dt="2017-10-02T21:16:47.425" v="336" actId="14861"/>
          <ac:cxnSpMkLst>
            <pc:docMk/>
            <pc:sldMk cId="2973189394" sldId="337"/>
            <ac:cxnSpMk id="11" creationId="{C524B471-D49B-41CB-B12B-384E0B790D46}"/>
          </ac:cxnSpMkLst>
        </pc:cxnChg>
        <pc:cxnChg chg="add mod">
          <ac:chgData name="ALEJANDRO HENAO LOAIZA" userId="5287a34c-202a-4b47-a331-6bf4067a52ab" providerId="ADAL" clId="{3507066E-96AF-4C78-9E42-F3ED11FB4296}" dt="2017-10-02T21:16:41.878" v="335" actId="14861"/>
          <ac:cxnSpMkLst>
            <pc:docMk/>
            <pc:sldMk cId="2973189394" sldId="337"/>
            <ac:cxnSpMk id="14" creationId="{157C8FA5-8D57-4FDB-84ED-33FBA56CD665}"/>
          </ac:cxnSpMkLst>
        </pc:cxnChg>
      </pc:sldChg>
      <pc:sldChg chg="addSp delSp modSp add del">
        <pc:chgData name="ALEJANDRO HENAO LOAIZA" userId="5287a34c-202a-4b47-a331-6bf4067a52ab" providerId="ADAL" clId="{3507066E-96AF-4C78-9E42-F3ED11FB4296}" dt="2017-10-02T21:36:32.312" v="537" actId="2696"/>
        <pc:sldMkLst>
          <pc:docMk/>
          <pc:sldMk cId="756789457" sldId="338"/>
        </pc:sldMkLst>
        <pc:spChg chg="mod">
          <ac:chgData name="ALEJANDRO HENAO LOAIZA" userId="5287a34c-202a-4b47-a331-6bf4067a52ab" providerId="ADAL" clId="{3507066E-96AF-4C78-9E42-F3ED11FB4296}" dt="2017-10-02T21:18:36.415" v="345" actId="2696"/>
          <ac:spMkLst>
            <pc:docMk/>
            <pc:sldMk cId="756789457" sldId="338"/>
            <ac:spMk id="3" creationId="{D252DA70-6B62-42CE-8AC3-64BA24D5DA9E}"/>
          </ac:spMkLst>
        </pc:spChg>
        <pc:spChg chg="mod">
          <ac:chgData name="ALEJANDRO HENAO LOAIZA" userId="5287a34c-202a-4b47-a331-6bf4067a52ab" providerId="ADAL" clId="{3507066E-96AF-4C78-9E42-F3ED11FB4296}" dt="2017-10-02T21:18:36.415" v="345" actId="2696"/>
          <ac:spMkLst>
            <pc:docMk/>
            <pc:sldMk cId="756789457" sldId="338"/>
            <ac:spMk id="4" creationId="{72D5EAFF-38BA-407A-A720-5D172CC9F630}"/>
          </ac:spMkLst>
        </pc:spChg>
        <pc:spChg chg="mod">
          <ac:chgData name="ALEJANDRO HENAO LOAIZA" userId="5287a34c-202a-4b47-a331-6bf4067a52ab" providerId="ADAL" clId="{3507066E-96AF-4C78-9E42-F3ED11FB4296}" dt="2017-10-02T21:18:36.415" v="345" actId="2696"/>
          <ac:spMkLst>
            <pc:docMk/>
            <pc:sldMk cId="756789457" sldId="338"/>
            <ac:spMk id="5" creationId="{C20F367A-EB4A-42EF-92FA-4A3DDB9A9A2B}"/>
          </ac:spMkLst>
        </pc:spChg>
        <pc:spChg chg="mod">
          <ac:chgData name="ALEJANDRO HENAO LOAIZA" userId="5287a34c-202a-4b47-a331-6bf4067a52ab" providerId="ADAL" clId="{3507066E-96AF-4C78-9E42-F3ED11FB4296}" dt="2017-10-02T21:18:36.415" v="345" actId="2696"/>
          <ac:spMkLst>
            <pc:docMk/>
            <pc:sldMk cId="756789457" sldId="338"/>
            <ac:spMk id="6" creationId="{E3BB8A69-42EB-4B05-9E11-BA4E3EAD25F4}"/>
          </ac:spMkLst>
        </pc:spChg>
        <pc:spChg chg="del">
          <ac:chgData name="ALEJANDRO HENAO LOAIZA" userId="5287a34c-202a-4b47-a331-6bf4067a52ab" providerId="ADAL" clId="{3507066E-96AF-4C78-9E42-F3ED11FB4296}" dt="2017-10-02T21:18:27.365" v="342" actId="478"/>
          <ac:spMkLst>
            <pc:docMk/>
            <pc:sldMk cId="756789457" sldId="338"/>
            <ac:spMk id="17" creationId="{FB43D740-163D-4967-A2CE-013B97BACCA9}"/>
          </ac:spMkLst>
        </pc:spChg>
        <pc:spChg chg="del">
          <ac:chgData name="ALEJANDRO HENAO LOAIZA" userId="5287a34c-202a-4b47-a331-6bf4067a52ab" providerId="ADAL" clId="{3507066E-96AF-4C78-9E42-F3ED11FB4296}" dt="2017-10-02T21:18:29.162" v="343" actId="478"/>
          <ac:spMkLst>
            <pc:docMk/>
            <pc:sldMk cId="756789457" sldId="338"/>
            <ac:spMk id="18" creationId="{479EC39D-F2EB-4D26-8021-6352D20FE312}"/>
          </ac:spMkLst>
        </pc:spChg>
        <pc:spChg chg="del">
          <ac:chgData name="ALEJANDRO HENAO LOAIZA" userId="5287a34c-202a-4b47-a331-6bf4067a52ab" providerId="ADAL" clId="{3507066E-96AF-4C78-9E42-F3ED11FB4296}" dt="2017-10-02T21:18:31.584" v="344" actId="478"/>
          <ac:spMkLst>
            <pc:docMk/>
            <pc:sldMk cId="756789457" sldId="338"/>
            <ac:spMk id="19" creationId="{DE2156AB-AC1F-478E-88CC-C6B7323BA490}"/>
          </ac:spMkLst>
        </pc:spChg>
        <pc:grpChg chg="add mod">
          <ac:chgData name="ALEJANDRO HENAO LOAIZA" userId="5287a34c-202a-4b47-a331-6bf4067a52ab" providerId="ADAL" clId="{3507066E-96AF-4C78-9E42-F3ED11FB4296}" dt="2017-10-02T21:18:41.039" v="347" actId="2696"/>
          <ac:grpSpMkLst>
            <pc:docMk/>
            <pc:sldMk cId="756789457" sldId="338"/>
            <ac:grpSpMk id="2" creationId="{F88BEA65-AAAB-41AB-BB41-C200AE2FDE2A}"/>
          </ac:grpSpMkLst>
        </pc:grpChg>
        <pc:cxnChg chg="mod">
          <ac:chgData name="ALEJANDRO HENAO LOAIZA" userId="5287a34c-202a-4b47-a331-6bf4067a52ab" providerId="ADAL" clId="{3507066E-96AF-4C78-9E42-F3ED11FB4296}" dt="2017-10-02T21:18:36.415" v="345" actId="2696"/>
          <ac:cxnSpMkLst>
            <pc:docMk/>
            <pc:sldMk cId="756789457" sldId="338"/>
            <ac:cxnSpMk id="10" creationId="{3E156586-49C7-4FA7-BCF7-9EF3C744AE26}"/>
          </ac:cxnSpMkLst>
        </pc:cxnChg>
        <pc:cxnChg chg="mod">
          <ac:chgData name="ALEJANDRO HENAO LOAIZA" userId="5287a34c-202a-4b47-a331-6bf4067a52ab" providerId="ADAL" clId="{3507066E-96AF-4C78-9E42-F3ED11FB4296}" dt="2017-10-02T21:18:36.415" v="345" actId="2696"/>
          <ac:cxnSpMkLst>
            <pc:docMk/>
            <pc:sldMk cId="756789457" sldId="338"/>
            <ac:cxnSpMk id="11" creationId="{C524B471-D49B-41CB-B12B-384E0B790D46}"/>
          </ac:cxnSpMkLst>
        </pc:cxnChg>
        <pc:cxnChg chg="mod">
          <ac:chgData name="ALEJANDRO HENAO LOAIZA" userId="5287a34c-202a-4b47-a331-6bf4067a52ab" providerId="ADAL" clId="{3507066E-96AF-4C78-9E42-F3ED11FB4296}" dt="2017-10-02T21:18:36.415" v="345" actId="2696"/>
          <ac:cxnSpMkLst>
            <pc:docMk/>
            <pc:sldMk cId="756789457" sldId="338"/>
            <ac:cxnSpMk id="14" creationId="{157C8FA5-8D57-4FDB-84ED-33FBA56CD665}"/>
          </ac:cxnSpMkLst>
        </pc:cxnChg>
      </pc:sldChg>
      <pc:sldChg chg="addSp modSp add modTransition modAnim">
        <pc:chgData name="ALEJANDRO HENAO LOAIZA" userId="5287a34c-202a-4b47-a331-6bf4067a52ab" providerId="ADAL" clId="{3507066E-96AF-4C78-9E42-F3ED11FB4296}" dt="2017-10-03T00:12:47.701" v="1272" actId="20577"/>
        <pc:sldMkLst>
          <pc:docMk/>
          <pc:sldMk cId="619404101" sldId="339"/>
        </pc:sldMkLst>
        <pc:spChg chg="add mod">
          <ac:chgData name="ALEJANDRO HENAO LOAIZA" userId="5287a34c-202a-4b47-a331-6bf4067a52ab" providerId="ADAL" clId="{3507066E-96AF-4C78-9E42-F3ED11FB4296}" dt="2017-10-02T21:19:14.008" v="353" actId="1076"/>
          <ac:spMkLst>
            <pc:docMk/>
            <pc:sldMk cId="619404101" sldId="339"/>
            <ac:spMk id="12" creationId="{215A99B5-F899-43CD-9037-A79E88625958}"/>
          </ac:spMkLst>
        </pc:spChg>
        <pc:spChg chg="add mod">
          <ac:chgData name="ALEJANDRO HENAO LOAIZA" userId="5287a34c-202a-4b47-a331-6bf4067a52ab" providerId="ADAL" clId="{3507066E-96AF-4C78-9E42-F3ED11FB4296}" dt="2017-10-02T21:19:32.272" v="356" actId="14861"/>
          <ac:spMkLst>
            <pc:docMk/>
            <pc:sldMk cId="619404101" sldId="339"/>
            <ac:spMk id="13" creationId="{1D03DC63-6074-4B3E-9541-3D3B60CE5272}"/>
          </ac:spMkLst>
        </pc:spChg>
        <pc:spChg chg="add mod">
          <ac:chgData name="ALEJANDRO HENAO LOAIZA" userId="5287a34c-202a-4b47-a331-6bf4067a52ab" providerId="ADAL" clId="{3507066E-96AF-4C78-9E42-F3ED11FB4296}" dt="2017-10-02T21:19:20.897" v="354" actId="1076"/>
          <ac:spMkLst>
            <pc:docMk/>
            <pc:sldMk cId="619404101" sldId="339"/>
            <ac:spMk id="15" creationId="{E2752ED2-5706-4189-80B6-C312FDD65BDB}"/>
          </ac:spMkLst>
        </pc:spChg>
        <pc:spChg chg="add mod">
          <ac:chgData name="ALEJANDRO HENAO LOAIZA" userId="5287a34c-202a-4b47-a331-6bf4067a52ab" providerId="ADAL" clId="{3507066E-96AF-4C78-9E42-F3ED11FB4296}" dt="2017-10-03T00:12:47.701" v="1272" actId="20577"/>
          <ac:spMkLst>
            <pc:docMk/>
            <pc:sldMk cId="619404101" sldId="339"/>
            <ac:spMk id="16" creationId="{535032BD-31D5-4D0D-9C7A-FB923CD4196C}"/>
          </ac:spMkLst>
        </pc:spChg>
      </pc:sldChg>
      <pc:sldChg chg="addSp delSp modSp add modTransition modAnim">
        <pc:chgData name="ALEJANDRO HENAO LOAIZA" userId="5287a34c-202a-4b47-a331-6bf4067a52ab" providerId="ADAL" clId="{3507066E-96AF-4C78-9E42-F3ED11FB4296}" dt="2017-10-03T00:12:55.692" v="1273" actId="1076"/>
        <pc:sldMkLst>
          <pc:docMk/>
          <pc:sldMk cId="1951581400" sldId="340"/>
        </pc:sldMkLst>
        <pc:spChg chg="add mod">
          <ac:chgData name="ALEJANDRO HENAO LOAIZA" userId="5287a34c-202a-4b47-a331-6bf4067a52ab" providerId="ADAL" clId="{3507066E-96AF-4C78-9E42-F3ED11FB4296}" dt="2017-10-02T21:30:06.346" v="441" actId="13822"/>
          <ac:spMkLst>
            <pc:docMk/>
            <pc:sldMk cId="1951581400" sldId="340"/>
            <ac:spMk id="7" creationId="{6B6FB9DF-4F34-4CC2-9CBF-9DDB5FBBCDAE}"/>
          </ac:spMkLst>
        </pc:spChg>
        <pc:spChg chg="mod">
          <ac:chgData name="ALEJANDRO HENAO LOAIZA" userId="5287a34c-202a-4b47-a331-6bf4067a52ab" providerId="ADAL" clId="{3507066E-96AF-4C78-9E42-F3ED11FB4296}" dt="2017-10-02T21:33:10.378" v="522" actId="113"/>
          <ac:spMkLst>
            <pc:docMk/>
            <pc:sldMk cId="1951581400" sldId="340"/>
            <ac:spMk id="12" creationId="{215A99B5-F899-43CD-9037-A79E88625958}"/>
          </ac:spMkLst>
        </pc:spChg>
        <pc:spChg chg="del">
          <ac:chgData name="ALEJANDRO HENAO LOAIZA" userId="5287a34c-202a-4b47-a331-6bf4067a52ab" providerId="ADAL" clId="{3507066E-96AF-4C78-9E42-F3ED11FB4296}" dt="2017-10-02T21:22:14.368" v="390" actId="478"/>
          <ac:spMkLst>
            <pc:docMk/>
            <pc:sldMk cId="1951581400" sldId="340"/>
            <ac:spMk id="13" creationId="{1D03DC63-6074-4B3E-9541-3D3B60CE5272}"/>
          </ac:spMkLst>
        </pc:spChg>
        <pc:spChg chg="del">
          <ac:chgData name="ALEJANDRO HENAO LOAIZA" userId="5287a34c-202a-4b47-a331-6bf4067a52ab" providerId="ADAL" clId="{3507066E-96AF-4C78-9E42-F3ED11FB4296}" dt="2017-10-02T21:22:17.138" v="391" actId="478"/>
          <ac:spMkLst>
            <pc:docMk/>
            <pc:sldMk cId="1951581400" sldId="340"/>
            <ac:spMk id="15" creationId="{E2752ED2-5706-4189-80B6-C312FDD65BDB}"/>
          </ac:spMkLst>
        </pc:spChg>
        <pc:spChg chg="add del mod">
          <ac:chgData name="ALEJANDRO HENAO LOAIZA" userId="5287a34c-202a-4b47-a331-6bf4067a52ab" providerId="ADAL" clId="{3507066E-96AF-4C78-9E42-F3ED11FB4296}" dt="2017-10-02T21:27:52.755" v="415" actId="478"/>
          <ac:spMkLst>
            <pc:docMk/>
            <pc:sldMk cId="1951581400" sldId="340"/>
            <ac:spMk id="16" creationId="{19960C5D-5D2A-4BB3-B3C7-F09D97ED9304}"/>
          </ac:spMkLst>
        </pc:spChg>
        <pc:spChg chg="add del mod">
          <ac:chgData name="ALEJANDRO HENAO LOAIZA" userId="5287a34c-202a-4b47-a331-6bf4067a52ab" providerId="ADAL" clId="{3507066E-96AF-4C78-9E42-F3ED11FB4296}" dt="2017-10-02T21:27:51.208" v="414" actId="478"/>
          <ac:spMkLst>
            <pc:docMk/>
            <pc:sldMk cId="1951581400" sldId="340"/>
            <ac:spMk id="17" creationId="{15498757-BB27-4B0E-B114-61892CC34C80}"/>
          </ac:spMkLst>
        </pc:spChg>
        <pc:spChg chg="add mod topLvl">
          <ac:chgData name="ALEJANDRO HENAO LOAIZA" userId="5287a34c-202a-4b47-a331-6bf4067a52ab" providerId="ADAL" clId="{3507066E-96AF-4C78-9E42-F3ED11FB4296}" dt="2017-10-02T21:37:22.682" v="538" actId="1076"/>
          <ac:spMkLst>
            <pc:docMk/>
            <pc:sldMk cId="1951581400" sldId="340"/>
            <ac:spMk id="18" creationId="{EA4F9077-1DFC-4E62-9657-216624D832C1}"/>
          </ac:spMkLst>
        </pc:spChg>
        <pc:spChg chg="add mod topLvl">
          <ac:chgData name="ALEJANDRO HENAO LOAIZA" userId="5287a34c-202a-4b47-a331-6bf4067a52ab" providerId="ADAL" clId="{3507066E-96AF-4C78-9E42-F3ED11FB4296}" dt="2017-10-02T21:37:22.682" v="538" actId="1076"/>
          <ac:spMkLst>
            <pc:docMk/>
            <pc:sldMk cId="1951581400" sldId="340"/>
            <ac:spMk id="19" creationId="{3E0749EA-504D-4539-B18D-AEF7BD8CAADF}"/>
          </ac:spMkLst>
        </pc:spChg>
        <pc:spChg chg="add del mod">
          <ac:chgData name="ALEJANDRO HENAO LOAIZA" userId="5287a34c-202a-4b47-a331-6bf4067a52ab" providerId="ADAL" clId="{3507066E-96AF-4C78-9E42-F3ED11FB4296}" dt="2017-10-02T21:33:43.395" v="528" actId="478"/>
          <ac:spMkLst>
            <pc:docMk/>
            <pc:sldMk cId="1951581400" sldId="340"/>
            <ac:spMk id="20" creationId="{73A87054-DF24-4BD2-A6C0-91F1A0433941}"/>
          </ac:spMkLst>
        </pc:spChg>
        <pc:spChg chg="add">
          <ac:chgData name="ALEJANDRO HENAO LOAIZA" userId="5287a34c-202a-4b47-a331-6bf4067a52ab" providerId="ADAL" clId="{3507066E-96AF-4C78-9E42-F3ED11FB4296}" dt="2017-10-03T00:12:55.692" v="1273" actId="1076"/>
          <ac:spMkLst>
            <pc:docMk/>
            <pc:sldMk cId="1951581400" sldId="340"/>
            <ac:spMk id="21" creationId="{959AE6AC-89DF-4CD6-B1D1-1197DADD3ABF}"/>
          </ac:spMkLst>
        </pc:spChg>
        <pc:grpChg chg="add del mod">
          <ac:chgData name="ALEJANDRO HENAO LOAIZA" userId="5287a34c-202a-4b47-a331-6bf4067a52ab" providerId="ADAL" clId="{3507066E-96AF-4C78-9E42-F3ED11FB4296}" dt="2017-10-02T21:37:22.682" v="538" actId="1076"/>
          <ac:grpSpMkLst>
            <pc:docMk/>
            <pc:sldMk cId="1951581400" sldId="340"/>
            <ac:grpSpMk id="8" creationId="{F75F04B0-6B91-40FA-A469-2577C7F64F67}"/>
          </ac:grpSpMkLst>
        </pc:grpChg>
      </pc:sldChg>
      <pc:sldChg chg="addSp delSp modSp">
        <pc:chgData name="ALEJANDRO HENAO LOAIZA" userId="5287a34c-202a-4b47-a331-6bf4067a52ab" providerId="ADAL" clId="{3507066E-96AF-4C78-9E42-F3ED11FB4296}" dt="2017-10-03T00:17:15.316" v="1284" actId="20577"/>
        <pc:sldMkLst>
          <pc:docMk/>
          <pc:sldMk cId="87527195" sldId="341"/>
        </pc:sldMkLst>
        <pc:spChg chg="mod">
          <ac:chgData name="ALEJANDRO HENAO LOAIZA" userId="5287a34c-202a-4b47-a331-6bf4067a52ab" providerId="ADAL" clId="{3507066E-96AF-4C78-9E42-F3ED11FB4296}" dt="2017-10-02T23:33:56.042" v="993" actId="20577"/>
          <ac:spMkLst>
            <pc:docMk/>
            <pc:sldMk cId="87527195" sldId="341"/>
            <ac:spMk id="8" creationId="{00000000-0000-0000-0000-000000000000}"/>
          </ac:spMkLst>
        </pc:spChg>
        <pc:spChg chg="add del mod">
          <ac:chgData name="ALEJANDRO HENAO LOAIZA" userId="5287a34c-202a-4b47-a331-6bf4067a52ab" providerId="ADAL" clId="{3507066E-96AF-4C78-9E42-F3ED11FB4296}" dt="2017-10-02T23:35:51.179" v="1020" actId="478"/>
          <ac:spMkLst>
            <pc:docMk/>
            <pc:sldMk cId="87527195" sldId="341"/>
            <ac:spMk id="10" creationId="{58F6B685-0C51-4ADD-8A73-56537C337AE1}"/>
          </ac:spMkLst>
        </pc:spChg>
        <pc:spChg chg="add mod">
          <ac:chgData name="ALEJANDRO HENAO LOAIZA" userId="5287a34c-202a-4b47-a331-6bf4067a52ab" providerId="ADAL" clId="{3507066E-96AF-4C78-9E42-F3ED11FB4296}" dt="2017-10-03T00:10:59.904" v="1214" actId="20577"/>
          <ac:spMkLst>
            <pc:docMk/>
            <pc:sldMk cId="87527195" sldId="341"/>
            <ac:spMk id="11" creationId="{3999EAFB-803F-4416-B5FF-1236742DA6EA}"/>
          </ac:spMkLst>
        </pc:spChg>
        <pc:spChg chg="add mod">
          <ac:chgData name="ALEJANDRO HENAO LOAIZA" userId="5287a34c-202a-4b47-a331-6bf4067a52ab" providerId="ADAL" clId="{3507066E-96AF-4C78-9E42-F3ED11FB4296}" dt="2017-10-03T00:10:59.904" v="1214" actId="20577"/>
          <ac:spMkLst>
            <pc:docMk/>
            <pc:sldMk cId="87527195" sldId="341"/>
            <ac:spMk id="12" creationId="{298684AA-0BFA-4840-A772-595F2C2FADDC}"/>
          </ac:spMkLst>
        </pc:spChg>
        <pc:spChg chg="add mod">
          <ac:chgData name="ALEJANDRO HENAO LOAIZA" userId="5287a34c-202a-4b47-a331-6bf4067a52ab" providerId="ADAL" clId="{3507066E-96AF-4C78-9E42-F3ED11FB4296}" dt="2017-10-03T00:10:59.904" v="1214" actId="20577"/>
          <ac:spMkLst>
            <pc:docMk/>
            <pc:sldMk cId="87527195" sldId="341"/>
            <ac:spMk id="13" creationId="{ADE318AC-686C-482A-8A7B-BB764092E7F8}"/>
          </ac:spMkLst>
        </pc:spChg>
        <pc:spChg chg="add mod">
          <ac:chgData name="ALEJANDRO HENAO LOAIZA" userId="5287a34c-202a-4b47-a331-6bf4067a52ab" providerId="ADAL" clId="{3507066E-96AF-4C78-9E42-F3ED11FB4296}" dt="2017-10-03T00:10:59.904" v="1214" actId="20577"/>
          <ac:spMkLst>
            <pc:docMk/>
            <pc:sldMk cId="87527195" sldId="341"/>
            <ac:spMk id="14" creationId="{94D282D5-076F-49D0-9305-C92CB28A4559}"/>
          </ac:spMkLst>
        </pc:spChg>
        <pc:spChg chg="add mod">
          <ac:chgData name="ALEJANDRO HENAO LOAIZA" userId="5287a34c-202a-4b47-a331-6bf4067a52ab" providerId="ADAL" clId="{3507066E-96AF-4C78-9E42-F3ED11FB4296}" dt="2017-10-03T00:10:59.904" v="1214" actId="20577"/>
          <ac:spMkLst>
            <pc:docMk/>
            <pc:sldMk cId="87527195" sldId="341"/>
            <ac:spMk id="15" creationId="{80F27118-34CE-4C71-8CF6-C3CD5C7D6945}"/>
          </ac:spMkLst>
        </pc:spChg>
        <pc:spChg chg="add mod">
          <ac:chgData name="ALEJANDRO HENAO LOAIZA" userId="5287a34c-202a-4b47-a331-6bf4067a52ab" providerId="ADAL" clId="{3507066E-96AF-4C78-9E42-F3ED11FB4296}" dt="2017-10-03T00:10:59.904" v="1214" actId="20577"/>
          <ac:spMkLst>
            <pc:docMk/>
            <pc:sldMk cId="87527195" sldId="341"/>
            <ac:spMk id="16" creationId="{2E4AB2DB-8C09-4E0A-88FD-2476EEC49BA1}"/>
          </ac:spMkLst>
        </pc:spChg>
        <pc:spChg chg="add mod">
          <ac:chgData name="ALEJANDRO HENAO LOAIZA" userId="5287a34c-202a-4b47-a331-6bf4067a52ab" providerId="ADAL" clId="{3507066E-96AF-4C78-9E42-F3ED11FB4296}" dt="2017-10-02T23:35:58.100" v="1022" actId="1076"/>
          <ac:spMkLst>
            <pc:docMk/>
            <pc:sldMk cId="87527195" sldId="341"/>
            <ac:spMk id="18" creationId="{9730A8FA-2BBF-4545-913D-7B83D2EDFB0F}"/>
          </ac:spMkLst>
        </pc:spChg>
        <pc:spChg chg="add mod">
          <ac:chgData name="ALEJANDRO HENAO LOAIZA" userId="5287a34c-202a-4b47-a331-6bf4067a52ab" providerId="ADAL" clId="{3507066E-96AF-4C78-9E42-F3ED11FB4296}" dt="2017-10-03T00:17:15.316" v="1284" actId="20577"/>
          <ac:spMkLst>
            <pc:docMk/>
            <pc:sldMk cId="87527195" sldId="341"/>
            <ac:spMk id="19" creationId="{8DBAD78C-A5FF-4256-A0DA-100BDBC6BCC3}"/>
          </ac:spMkLst>
        </pc:spChg>
        <pc:grpChg chg="add mod">
          <ac:chgData name="ALEJANDRO HENAO LOAIZA" userId="5287a34c-202a-4b47-a331-6bf4067a52ab" providerId="ADAL" clId="{3507066E-96AF-4C78-9E42-F3ED11FB4296}" dt="2017-10-03T00:10:59.904" v="1214" actId="20577"/>
          <ac:grpSpMkLst>
            <pc:docMk/>
            <pc:sldMk cId="87527195" sldId="341"/>
            <ac:grpSpMk id="3" creationId="{E2F4AB13-3172-40E5-BFEE-EB66206524F3}"/>
          </ac:grpSpMkLst>
        </pc:grpChg>
        <pc:picChg chg="add mod">
          <ac:chgData name="ALEJANDRO HENAO LOAIZA" userId="5287a34c-202a-4b47-a331-6bf4067a52ab" providerId="ADAL" clId="{3507066E-96AF-4C78-9E42-F3ED11FB4296}" dt="2017-10-03T00:10:59.904" v="1214" actId="20577"/>
          <ac:picMkLst>
            <pc:docMk/>
            <pc:sldMk cId="87527195" sldId="341"/>
            <ac:picMk id="9" creationId="{BB7D5A7A-5822-4467-8753-486FCD021546}"/>
          </ac:picMkLst>
        </pc:picChg>
        <pc:picChg chg="add mod">
          <ac:chgData name="ALEJANDRO HENAO LOAIZA" userId="5287a34c-202a-4b47-a331-6bf4067a52ab" providerId="ADAL" clId="{3507066E-96AF-4C78-9E42-F3ED11FB4296}" dt="2017-10-03T00:10:59.904" v="1214" actId="20577"/>
          <ac:picMkLst>
            <pc:docMk/>
            <pc:sldMk cId="87527195" sldId="341"/>
            <ac:picMk id="17" creationId="{6D3B2ADC-D67C-45AC-8A5C-D82C2BA80EFE}"/>
          </ac:picMkLst>
        </pc:picChg>
      </pc:sldChg>
    </pc:docChg>
  </pc:docChgLst>
  <pc:docChgLst>
    <pc:chgData name="ALEJANDRO HENAO LOAIZA" userId="5287a34c-202a-4b47-a331-6bf4067a52ab" providerId="ADAL" clId="{4167C5C7-B94D-4794-B8F2-85B8C5CC2E14}"/>
    <pc:docChg chg="undo custSel addSld delSld modSld sldOrd">
      <pc:chgData name="ALEJANDRO HENAO LOAIZA" userId="5287a34c-202a-4b47-a331-6bf4067a52ab" providerId="ADAL" clId="{4167C5C7-B94D-4794-B8F2-85B8C5CC2E14}" dt="2017-10-04T19:57:18.429" v="699"/>
      <pc:docMkLst>
        <pc:docMk/>
      </pc:docMkLst>
      <pc:sldChg chg="ord">
        <pc:chgData name="ALEJANDRO HENAO LOAIZA" userId="5287a34c-202a-4b47-a331-6bf4067a52ab" providerId="ADAL" clId="{4167C5C7-B94D-4794-B8F2-85B8C5CC2E14}" dt="2017-10-04T13:22:51.346" v="1" actId="115"/>
        <pc:sldMkLst>
          <pc:docMk/>
          <pc:sldMk cId="4222846564" sldId="276"/>
        </pc:sldMkLst>
      </pc:sldChg>
      <pc:sldChg chg="modSp ord">
        <pc:chgData name="ALEJANDRO HENAO LOAIZA" userId="5287a34c-202a-4b47-a331-6bf4067a52ab" providerId="ADAL" clId="{4167C5C7-B94D-4794-B8F2-85B8C5CC2E14}" dt="2017-10-04T19:48:23.431" v="694"/>
        <pc:sldMkLst>
          <pc:docMk/>
          <pc:sldMk cId="241009225" sldId="280"/>
        </pc:sldMkLst>
        <pc:spChg chg="mod">
          <ac:chgData name="ALEJANDRO HENAO LOAIZA" userId="5287a34c-202a-4b47-a331-6bf4067a52ab" providerId="ADAL" clId="{4167C5C7-B94D-4794-B8F2-85B8C5CC2E14}" dt="2017-10-04T19:47:24.703" v="693" actId="20577"/>
          <ac:spMkLst>
            <pc:docMk/>
            <pc:sldMk cId="241009225" sldId="280"/>
            <ac:spMk id="4" creationId="{00000000-0000-0000-0000-000000000000}"/>
          </ac:spMkLst>
        </pc:spChg>
      </pc:sldChg>
      <pc:sldChg chg="ord">
        <pc:chgData name="ALEJANDRO HENAO LOAIZA" userId="5287a34c-202a-4b47-a331-6bf4067a52ab" providerId="ADAL" clId="{4167C5C7-B94D-4794-B8F2-85B8C5CC2E14}" dt="2017-10-04T17:07:24" v="6" actId="115"/>
        <pc:sldMkLst>
          <pc:docMk/>
          <pc:sldMk cId="3496480957" sldId="284"/>
        </pc:sldMkLst>
      </pc:sldChg>
      <pc:sldChg chg="ord">
        <pc:chgData name="ALEJANDRO HENAO LOAIZA" userId="5287a34c-202a-4b47-a331-6bf4067a52ab" providerId="ADAL" clId="{4167C5C7-B94D-4794-B8F2-85B8C5CC2E14}" dt="2017-10-04T17:07:52.800" v="7" actId="115"/>
        <pc:sldMkLst>
          <pc:docMk/>
          <pc:sldMk cId="2319624219" sldId="285"/>
        </pc:sldMkLst>
      </pc:sldChg>
      <pc:sldChg chg="ord">
        <pc:chgData name="ALEJANDRO HENAO LOAIZA" userId="5287a34c-202a-4b47-a331-6bf4067a52ab" providerId="ADAL" clId="{4167C5C7-B94D-4794-B8F2-85B8C5CC2E14}" dt="2017-10-04T13:21:34.079" v="0" actId="115"/>
        <pc:sldMkLst>
          <pc:docMk/>
          <pc:sldMk cId="790987321" sldId="291"/>
        </pc:sldMkLst>
      </pc:sldChg>
      <pc:sldChg chg="modSp ord">
        <pc:chgData name="ALEJANDRO HENAO LOAIZA" userId="5287a34c-202a-4b47-a331-6bf4067a52ab" providerId="ADAL" clId="{4167C5C7-B94D-4794-B8F2-85B8C5CC2E14}" dt="2017-10-04T19:23:29.693" v="691" actId="20577"/>
        <pc:sldMkLst>
          <pc:docMk/>
          <pc:sldMk cId="1143582595" sldId="331"/>
        </pc:sldMkLst>
        <pc:spChg chg="mod">
          <ac:chgData name="ALEJANDRO HENAO LOAIZA" userId="5287a34c-202a-4b47-a331-6bf4067a52ab" providerId="ADAL" clId="{4167C5C7-B94D-4794-B8F2-85B8C5CC2E14}" dt="2017-10-04T19:23:29.693" v="691" actId="20577"/>
          <ac:spMkLst>
            <pc:docMk/>
            <pc:sldMk cId="1143582595" sldId="331"/>
            <ac:spMk id="2" creationId="{00000000-0000-0000-0000-000000000000}"/>
          </ac:spMkLst>
        </pc:spChg>
      </pc:sldChg>
      <pc:sldChg chg="ord modTransition">
        <pc:chgData name="ALEJANDRO HENAO LOAIZA" userId="5287a34c-202a-4b47-a331-6bf4067a52ab" providerId="ADAL" clId="{4167C5C7-B94D-4794-B8F2-85B8C5CC2E14}" dt="2017-10-04T13:30:11.772" v="5" actId="115"/>
        <pc:sldMkLst>
          <pc:docMk/>
          <pc:sldMk cId="1151406707" sldId="335"/>
        </pc:sldMkLst>
      </pc:sldChg>
      <pc:sldChg chg="ord">
        <pc:chgData name="ALEJANDRO HENAO LOAIZA" userId="5287a34c-202a-4b47-a331-6bf4067a52ab" providerId="ADAL" clId="{4167C5C7-B94D-4794-B8F2-85B8C5CC2E14}" dt="2017-10-04T19:46:12.728" v="692"/>
        <pc:sldMkLst>
          <pc:docMk/>
          <pc:sldMk cId="3344970276" sldId="336"/>
        </pc:sldMkLst>
      </pc:sldChg>
      <pc:sldChg chg="ord">
        <pc:chgData name="ALEJANDRO HENAO LOAIZA" userId="5287a34c-202a-4b47-a331-6bf4067a52ab" providerId="ADAL" clId="{4167C5C7-B94D-4794-B8F2-85B8C5CC2E14}" dt="2017-10-04T13:29:57.414" v="4" actId="115"/>
        <pc:sldMkLst>
          <pc:docMk/>
          <pc:sldMk cId="87527195" sldId="341"/>
        </pc:sldMkLst>
      </pc:sldChg>
      <pc:sldChg chg="ord">
        <pc:chgData name="ALEJANDRO HENAO LOAIZA" userId="5287a34c-202a-4b47-a331-6bf4067a52ab" providerId="ADAL" clId="{4167C5C7-B94D-4794-B8F2-85B8C5CC2E14}" dt="2017-10-04T13:21:34.079" v="0" actId="115"/>
        <pc:sldMkLst>
          <pc:docMk/>
          <pc:sldMk cId="719106745" sldId="343"/>
        </pc:sldMkLst>
      </pc:sldChg>
      <pc:sldChg chg="addSp delSp modSp add ord">
        <pc:chgData name="ALEJANDRO HENAO LOAIZA" userId="5287a34c-202a-4b47-a331-6bf4067a52ab" providerId="ADAL" clId="{4167C5C7-B94D-4794-B8F2-85B8C5CC2E14}" dt="2017-10-04T19:48:57.161" v="695"/>
        <pc:sldMkLst>
          <pc:docMk/>
          <pc:sldMk cId="2128036977" sldId="346"/>
        </pc:sldMkLst>
        <pc:spChg chg="del">
          <ac:chgData name="ALEJANDRO HENAO LOAIZA" userId="5287a34c-202a-4b47-a331-6bf4067a52ab" providerId="ADAL" clId="{4167C5C7-B94D-4794-B8F2-85B8C5CC2E14}" dt="2017-10-04T17:12:46.770" v="9" actId="478"/>
          <ac:spMkLst>
            <pc:docMk/>
            <pc:sldMk cId="2128036977" sldId="346"/>
            <ac:spMk id="2" creationId="{14B1D93F-315B-47F4-BD4E-F1A3CC368602}"/>
          </ac:spMkLst>
        </pc:spChg>
        <pc:spChg chg="add mod">
          <ac:chgData name="ALEJANDRO HENAO LOAIZA" userId="5287a34c-202a-4b47-a331-6bf4067a52ab" providerId="ADAL" clId="{4167C5C7-B94D-4794-B8F2-85B8C5CC2E14}" dt="2017-10-04T17:25:35.704" v="393" actId="1076"/>
          <ac:spMkLst>
            <pc:docMk/>
            <pc:sldMk cId="2128036977" sldId="346"/>
            <ac:spMk id="3" creationId="{C86440B3-58DF-4235-8981-CE33DBAF893C}"/>
          </ac:spMkLst>
        </pc:spChg>
        <pc:spChg chg="add mod">
          <ac:chgData name="ALEJANDRO HENAO LOAIZA" userId="5287a34c-202a-4b47-a331-6bf4067a52ab" providerId="ADAL" clId="{4167C5C7-B94D-4794-B8F2-85B8C5CC2E14}" dt="2017-10-04T19:04:31.673" v="652" actId="20577"/>
          <ac:spMkLst>
            <pc:docMk/>
            <pc:sldMk cId="2128036977" sldId="346"/>
            <ac:spMk id="4" creationId="{F4ECFC2A-D4B6-4798-BB58-835B7F63B125}"/>
          </ac:spMkLst>
        </pc:spChg>
        <pc:spChg chg="add del mod">
          <ac:chgData name="ALEJANDRO HENAO LOAIZA" userId="5287a34c-202a-4b47-a331-6bf4067a52ab" providerId="ADAL" clId="{4167C5C7-B94D-4794-B8F2-85B8C5CC2E14}" dt="2017-10-04T19:14:41.512" v="656" actId="115"/>
          <ac:spMkLst>
            <pc:docMk/>
            <pc:sldMk cId="2128036977" sldId="346"/>
            <ac:spMk id="32" creationId="{A110A1D0-8BD5-4B80-89ED-17E85FD0C4AC}"/>
          </ac:spMkLst>
        </pc:spChg>
        <pc:spChg chg="add del mod">
          <ac:chgData name="ALEJANDRO HENAO LOAIZA" userId="5287a34c-202a-4b47-a331-6bf4067a52ab" providerId="ADAL" clId="{4167C5C7-B94D-4794-B8F2-85B8C5CC2E14}" dt="2017-10-04T19:02:20.984" v="558" actId="115"/>
          <ac:spMkLst>
            <pc:docMk/>
            <pc:sldMk cId="2128036977" sldId="346"/>
            <ac:spMk id="33" creationId="{95AFEE53-4125-4F01-BE33-39609F6ED257}"/>
          </ac:spMkLst>
        </pc:spChg>
        <pc:spChg chg="add mod">
          <ac:chgData name="ALEJANDRO HENAO LOAIZA" userId="5287a34c-202a-4b47-a331-6bf4067a52ab" providerId="ADAL" clId="{4167C5C7-B94D-4794-B8F2-85B8C5CC2E14}" dt="2017-10-04T19:03:49.610" v="601" actId="122"/>
          <ac:spMkLst>
            <pc:docMk/>
            <pc:sldMk cId="2128036977" sldId="346"/>
            <ac:spMk id="34" creationId="{10C0FA7F-17B8-4525-8BCF-912007ED6832}"/>
          </ac:spMkLst>
        </pc:spChg>
        <pc:spChg chg="add mod">
          <ac:chgData name="ALEJANDRO HENAO LOAIZA" userId="5287a34c-202a-4b47-a331-6bf4067a52ab" providerId="ADAL" clId="{4167C5C7-B94D-4794-B8F2-85B8C5CC2E14}" dt="2017-10-04T19:03:49.610" v="601" actId="122"/>
          <ac:spMkLst>
            <pc:docMk/>
            <pc:sldMk cId="2128036977" sldId="346"/>
            <ac:spMk id="35" creationId="{9A0BF68E-204A-456B-8B31-8A9CAD547C3E}"/>
          </ac:spMkLst>
        </pc:spChg>
        <pc:grpChg chg="add mod topLvl">
          <ac:chgData name="ALEJANDRO HENAO LOAIZA" userId="5287a34c-202a-4b47-a331-6bf4067a52ab" providerId="ADAL" clId="{4167C5C7-B94D-4794-B8F2-85B8C5CC2E14}" dt="2017-10-04T19:05:16.849" v="654" actId="115"/>
          <ac:grpSpMkLst>
            <pc:docMk/>
            <pc:sldMk cId="2128036977" sldId="346"/>
            <ac:grpSpMk id="28" creationId="{41B98FCA-5BF0-4C33-9E97-F2D1C633B933}"/>
          </ac:grpSpMkLst>
        </pc:grpChg>
        <pc:grpChg chg="add mod topLvl">
          <ac:chgData name="ALEJANDRO HENAO LOAIZA" userId="5287a34c-202a-4b47-a331-6bf4067a52ab" providerId="ADAL" clId="{4167C5C7-B94D-4794-B8F2-85B8C5CC2E14}" dt="2017-10-04T17:32:28.588" v="532" actId="1036"/>
          <ac:grpSpMkLst>
            <pc:docMk/>
            <pc:sldMk cId="2128036977" sldId="346"/>
            <ac:grpSpMk id="29" creationId="{DBEAB317-3894-456F-B74C-870C269A3A4F}"/>
          </ac:grpSpMkLst>
        </pc:grpChg>
        <pc:grpChg chg="add mod topLvl">
          <ac:chgData name="ALEJANDRO HENAO LOAIZA" userId="5287a34c-202a-4b47-a331-6bf4067a52ab" providerId="ADAL" clId="{4167C5C7-B94D-4794-B8F2-85B8C5CC2E14}" dt="2017-10-04T19:05:08.264" v="653" actId="115"/>
          <ac:grpSpMkLst>
            <pc:docMk/>
            <pc:sldMk cId="2128036977" sldId="346"/>
            <ac:grpSpMk id="30" creationId="{B6A53D39-0A09-44DE-94C0-481C4291DCEF}"/>
          </ac:grpSpMkLst>
        </pc:grpChg>
        <pc:grpChg chg="add del mod">
          <ac:chgData name="ALEJANDRO HENAO LOAIZA" userId="5287a34c-202a-4b47-a331-6bf4067a52ab" providerId="ADAL" clId="{4167C5C7-B94D-4794-B8F2-85B8C5CC2E14}" dt="2017-10-04T17:32:17.725" v="510" actId="115"/>
          <ac:grpSpMkLst>
            <pc:docMk/>
            <pc:sldMk cId="2128036977" sldId="346"/>
            <ac:grpSpMk id="31" creationId="{1F04D89E-DDB2-4A3F-B1E0-E2AEB917A79C}"/>
          </ac:grpSpMkLst>
        </pc:grpChg>
        <pc:picChg chg="add mod">
          <ac:chgData name="ALEJANDRO HENAO LOAIZA" userId="5287a34c-202a-4b47-a331-6bf4067a52ab" providerId="ADAL" clId="{4167C5C7-B94D-4794-B8F2-85B8C5CC2E14}" dt="2017-10-04T19:04:09.600" v="641" actId="1035"/>
          <ac:picMkLst>
            <pc:docMk/>
            <pc:sldMk cId="2128036977" sldId="346"/>
            <ac:picMk id="5" creationId="{C61CC645-3B53-4DF4-B86E-2DAC3411CB32}"/>
          </ac:picMkLst>
        </pc:picChg>
        <pc:picChg chg="add mod">
          <ac:chgData name="ALEJANDRO HENAO LOAIZA" userId="5287a34c-202a-4b47-a331-6bf4067a52ab" providerId="ADAL" clId="{4167C5C7-B94D-4794-B8F2-85B8C5CC2E14}" dt="2017-10-04T17:29:45.200" v="470" actId="115"/>
          <ac:picMkLst>
            <pc:docMk/>
            <pc:sldMk cId="2128036977" sldId="346"/>
            <ac:picMk id="7" creationId="{92F276B0-DB0B-440D-B403-198306765109}"/>
          </ac:picMkLst>
        </pc:picChg>
        <pc:picChg chg="add mod modCrop">
          <ac:chgData name="ALEJANDRO HENAO LOAIZA" userId="5287a34c-202a-4b47-a331-6bf4067a52ab" providerId="ADAL" clId="{4167C5C7-B94D-4794-B8F2-85B8C5CC2E14}" dt="2017-10-04T17:29:45.200" v="470" actId="115"/>
          <ac:picMkLst>
            <pc:docMk/>
            <pc:sldMk cId="2128036977" sldId="346"/>
            <ac:picMk id="9" creationId="{F344AA04-74AB-45A2-A0F4-9874014885BE}"/>
          </ac:picMkLst>
        </pc:picChg>
        <pc:picChg chg="add mod">
          <ac:chgData name="ALEJANDRO HENAO LOAIZA" userId="5287a34c-202a-4b47-a331-6bf4067a52ab" providerId="ADAL" clId="{4167C5C7-B94D-4794-B8F2-85B8C5CC2E14}" dt="2017-10-04T17:31:28.035" v="490" actId="14100"/>
          <ac:picMkLst>
            <pc:docMk/>
            <pc:sldMk cId="2128036977" sldId="346"/>
            <ac:picMk id="11" creationId="{E2489B83-0B62-469B-A883-0F0C88FA55C9}"/>
          </ac:picMkLst>
        </pc:picChg>
        <pc:picChg chg="add mod">
          <ac:chgData name="ALEJANDRO HENAO LOAIZA" userId="5287a34c-202a-4b47-a331-6bf4067a52ab" providerId="ADAL" clId="{4167C5C7-B94D-4794-B8F2-85B8C5CC2E14}" dt="2017-10-04T17:29:45.200" v="470" actId="115"/>
          <ac:picMkLst>
            <pc:docMk/>
            <pc:sldMk cId="2128036977" sldId="346"/>
            <ac:picMk id="13" creationId="{BC48B7AF-9FBB-4C18-A190-4DE6F600B40F}"/>
          </ac:picMkLst>
        </pc:picChg>
        <pc:picChg chg="add mod ord">
          <ac:chgData name="ALEJANDRO HENAO LOAIZA" userId="5287a34c-202a-4b47-a331-6bf4067a52ab" providerId="ADAL" clId="{4167C5C7-B94D-4794-B8F2-85B8C5CC2E14}" dt="2017-10-04T17:27:15.160" v="425" actId="115"/>
          <ac:picMkLst>
            <pc:docMk/>
            <pc:sldMk cId="2128036977" sldId="346"/>
            <ac:picMk id="15" creationId="{BF0CD990-08FF-4661-9759-D5DCE7B1D50B}"/>
          </ac:picMkLst>
        </pc:picChg>
        <pc:picChg chg="add mod">
          <ac:chgData name="ALEJANDRO HENAO LOAIZA" userId="5287a34c-202a-4b47-a331-6bf4067a52ab" providerId="ADAL" clId="{4167C5C7-B94D-4794-B8F2-85B8C5CC2E14}" dt="2017-10-04T17:29:45.200" v="470" actId="115"/>
          <ac:picMkLst>
            <pc:docMk/>
            <pc:sldMk cId="2128036977" sldId="346"/>
            <ac:picMk id="17" creationId="{156614B4-FD03-4F3B-AA15-370EBDE0089A}"/>
          </ac:picMkLst>
        </pc:picChg>
        <pc:picChg chg="add mod ord">
          <ac:chgData name="ALEJANDRO HENAO LOAIZA" userId="5287a34c-202a-4b47-a331-6bf4067a52ab" providerId="ADAL" clId="{4167C5C7-B94D-4794-B8F2-85B8C5CC2E14}" dt="2017-10-04T17:32:45.836" v="533" actId="14861"/>
          <ac:picMkLst>
            <pc:docMk/>
            <pc:sldMk cId="2128036977" sldId="346"/>
            <ac:picMk id="19" creationId="{66931533-DABA-497D-B9E7-0B7210000574}"/>
          </ac:picMkLst>
        </pc:picChg>
        <pc:picChg chg="add mod">
          <ac:chgData name="ALEJANDRO HENAO LOAIZA" userId="5287a34c-202a-4b47-a331-6bf4067a52ab" providerId="ADAL" clId="{4167C5C7-B94D-4794-B8F2-85B8C5CC2E14}" dt="2017-10-04T17:27:15.160" v="425" actId="115"/>
          <ac:picMkLst>
            <pc:docMk/>
            <pc:sldMk cId="2128036977" sldId="346"/>
            <ac:picMk id="21" creationId="{8EA419CA-7931-453D-A57D-A86FFFF34343}"/>
          </ac:picMkLst>
        </pc:picChg>
        <pc:picChg chg="add mod">
          <ac:chgData name="ALEJANDRO HENAO LOAIZA" userId="5287a34c-202a-4b47-a331-6bf4067a52ab" providerId="ADAL" clId="{4167C5C7-B94D-4794-B8F2-85B8C5CC2E14}" dt="2017-10-04T17:29:45.200" v="470" actId="115"/>
          <ac:picMkLst>
            <pc:docMk/>
            <pc:sldMk cId="2128036977" sldId="346"/>
            <ac:picMk id="23" creationId="{8AB3DF43-11E6-4746-9128-B7A5F4AC854F}"/>
          </ac:picMkLst>
        </pc:picChg>
        <pc:picChg chg="add mod">
          <ac:chgData name="ALEJANDRO HENAO LOAIZA" userId="5287a34c-202a-4b47-a331-6bf4067a52ab" providerId="ADAL" clId="{4167C5C7-B94D-4794-B8F2-85B8C5CC2E14}" dt="2017-10-04T17:29:45.200" v="470" actId="115"/>
          <ac:picMkLst>
            <pc:docMk/>
            <pc:sldMk cId="2128036977" sldId="346"/>
            <ac:picMk id="25" creationId="{5F919788-ED70-497D-905C-ED955B3D1CB3}"/>
          </ac:picMkLst>
        </pc:picChg>
        <pc:picChg chg="add mod">
          <ac:chgData name="ALEJANDRO HENAO LOAIZA" userId="5287a34c-202a-4b47-a331-6bf4067a52ab" providerId="ADAL" clId="{4167C5C7-B94D-4794-B8F2-85B8C5CC2E14}" dt="2017-10-04T17:31:35.021" v="492" actId="1076"/>
          <ac:picMkLst>
            <pc:docMk/>
            <pc:sldMk cId="2128036977" sldId="346"/>
            <ac:picMk id="27" creationId="{95D8B983-C733-4033-9345-F6C03BBC29F8}"/>
          </ac:picMkLst>
        </pc:picChg>
      </pc:sldChg>
      <pc:sldChg chg="add del">
        <pc:chgData name="ALEJANDRO HENAO LOAIZA" userId="5287a34c-202a-4b47-a331-6bf4067a52ab" providerId="ADAL" clId="{4167C5C7-B94D-4794-B8F2-85B8C5CC2E14}" dt="2017-10-04T19:57:13.968" v="697"/>
        <pc:sldMkLst>
          <pc:docMk/>
          <pc:sldMk cId="2545636311" sldId="348"/>
        </pc:sldMkLst>
      </pc:sldChg>
      <pc:sldChg chg="add ord">
        <pc:chgData name="ALEJANDRO HENAO LOAIZA" userId="5287a34c-202a-4b47-a331-6bf4067a52ab" providerId="ADAL" clId="{4167C5C7-B94D-4794-B8F2-85B8C5CC2E14}" dt="2017-10-04T19:57:18.429" v="699"/>
        <pc:sldMkLst>
          <pc:docMk/>
          <pc:sldMk cId="4067967115" sldId="348"/>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00845B-E8FF-4F2A-A025-4F34CEE8BCE4}" type="doc">
      <dgm:prSet loTypeId="urn:microsoft.com/office/officeart/2005/8/layout/cycle2" loCatId="cycle" qsTypeId="urn:microsoft.com/office/officeart/2005/8/quickstyle/simple5" qsCatId="simple" csTypeId="urn:microsoft.com/office/officeart/2005/8/colors/colorful4" csCatId="colorful" phldr="1"/>
      <dgm:spPr/>
      <dgm:t>
        <a:bodyPr/>
        <a:lstStyle/>
        <a:p>
          <a:endParaRPr lang="es-ES"/>
        </a:p>
      </dgm:t>
    </dgm:pt>
    <dgm:pt modelId="{F24EA7C1-1045-45D4-8EC0-51E0A4CF7359}">
      <dgm:prSet phldrT="[Texto]" custT="1"/>
      <dgm:spPr>
        <a:solidFill>
          <a:srgbClr val="00FF00"/>
        </a:solidFill>
      </dgm:spPr>
      <dgm:t>
        <a:bodyPr/>
        <a:lstStyle/>
        <a:p>
          <a:r>
            <a:rPr lang="es-ES" sz="2000" b="1" spc="-60" baseline="0" dirty="0">
              <a:solidFill>
                <a:schemeClr val="tx1">
                  <a:lumMod val="65000"/>
                  <a:lumOff val="35000"/>
                </a:schemeClr>
              </a:solidFill>
              <a:latin typeface="Calibri" panose="020F0502020204030204" pitchFamily="34" charset="0"/>
            </a:rPr>
            <a:t>Comprender el Negocio</a:t>
          </a:r>
        </a:p>
      </dgm:t>
    </dgm:pt>
    <dgm:pt modelId="{2AE9D538-884D-4976-A5CD-71AA80267422}" type="parTrans" cxnId="{4118D54E-B6AD-4E13-B285-F8D3321F22FE}">
      <dgm:prSet/>
      <dgm:spPr/>
      <dgm:t>
        <a:bodyPr/>
        <a:lstStyle/>
        <a:p>
          <a:endParaRPr lang="es-ES"/>
        </a:p>
      </dgm:t>
    </dgm:pt>
    <dgm:pt modelId="{D903ADB8-ECFF-4A45-A93D-7D2C40A3D12A}" type="sibTrans" cxnId="{4118D54E-B6AD-4E13-B285-F8D3321F22FE}">
      <dgm:prSet/>
      <dgm:spPr/>
      <dgm:t>
        <a:bodyPr/>
        <a:lstStyle/>
        <a:p>
          <a:endParaRPr lang="es-ES"/>
        </a:p>
      </dgm:t>
    </dgm:pt>
    <dgm:pt modelId="{AF2C0FB1-0CC8-45E1-91FF-3E5E15A811DA}">
      <dgm:prSet phldrT="[Texto]" custT="1"/>
      <dgm:spPr>
        <a:solidFill>
          <a:srgbClr val="00B0F0"/>
        </a:solidFill>
      </dgm:spPr>
      <dgm:t>
        <a:bodyPr/>
        <a:lstStyle/>
        <a:p>
          <a:r>
            <a:rPr lang="es-ES" sz="2000" b="1" spc="-40" baseline="0" dirty="0">
              <a:solidFill>
                <a:schemeClr val="tx1">
                  <a:lumMod val="65000"/>
                  <a:lumOff val="35000"/>
                </a:schemeClr>
              </a:solidFill>
              <a:latin typeface="Calibri" panose="020F0502020204030204" pitchFamily="34" charset="0"/>
            </a:rPr>
            <a:t>Comprender</a:t>
          </a:r>
          <a:r>
            <a:rPr lang="es-ES" sz="1900" b="1" spc="-40" baseline="0" dirty="0">
              <a:solidFill>
                <a:schemeClr val="tx1">
                  <a:lumMod val="65000"/>
                  <a:lumOff val="35000"/>
                </a:schemeClr>
              </a:solidFill>
              <a:latin typeface="Calibri" panose="020F0502020204030204" pitchFamily="34" charset="0"/>
            </a:rPr>
            <a:t> </a:t>
          </a:r>
          <a:r>
            <a:rPr lang="es-ES" sz="2000" b="1" spc="-40" baseline="0" dirty="0">
              <a:solidFill>
                <a:schemeClr val="tx1">
                  <a:lumMod val="65000"/>
                  <a:lumOff val="35000"/>
                </a:schemeClr>
              </a:solidFill>
              <a:latin typeface="Calibri" panose="020F0502020204030204" pitchFamily="34" charset="0"/>
            </a:rPr>
            <a:t>los datos</a:t>
          </a:r>
          <a:endParaRPr lang="es-ES" sz="1900" b="1" spc="-40" baseline="0" dirty="0">
            <a:solidFill>
              <a:schemeClr val="tx1">
                <a:lumMod val="65000"/>
                <a:lumOff val="35000"/>
              </a:schemeClr>
            </a:solidFill>
            <a:latin typeface="Calibri" panose="020F0502020204030204" pitchFamily="34" charset="0"/>
          </a:endParaRPr>
        </a:p>
      </dgm:t>
    </dgm:pt>
    <dgm:pt modelId="{6CEABC01-5D20-475B-8EEE-19B57C952894}" type="parTrans" cxnId="{D1241B0F-E460-459A-9239-1FC2192CD152}">
      <dgm:prSet/>
      <dgm:spPr/>
      <dgm:t>
        <a:bodyPr/>
        <a:lstStyle/>
        <a:p>
          <a:endParaRPr lang="es-ES"/>
        </a:p>
      </dgm:t>
    </dgm:pt>
    <dgm:pt modelId="{B3F1DAB7-8ACD-4FE5-AA09-F538868468E4}" type="sibTrans" cxnId="{D1241B0F-E460-459A-9239-1FC2192CD152}">
      <dgm:prSet/>
      <dgm:spPr/>
      <dgm:t>
        <a:bodyPr/>
        <a:lstStyle/>
        <a:p>
          <a:endParaRPr lang="es-ES"/>
        </a:p>
      </dgm:t>
    </dgm:pt>
    <dgm:pt modelId="{369D558C-F498-4621-9422-F17432972213}">
      <dgm:prSet phldrT="[Texto]" custT="1"/>
      <dgm:spPr>
        <a:solidFill>
          <a:srgbClr val="33CC33"/>
        </a:solidFill>
      </dgm:spPr>
      <dgm:t>
        <a:bodyPr/>
        <a:lstStyle/>
        <a:p>
          <a:r>
            <a:rPr lang="es-ES" sz="2000" b="1" dirty="0">
              <a:solidFill>
                <a:schemeClr val="tx1">
                  <a:lumMod val="65000"/>
                  <a:lumOff val="35000"/>
                </a:schemeClr>
              </a:solidFill>
              <a:latin typeface="Calibri" panose="020F0502020204030204" pitchFamily="34" charset="0"/>
            </a:rPr>
            <a:t>Preparar los datos</a:t>
          </a:r>
          <a:endParaRPr lang="es-ES" sz="2000" dirty="0">
            <a:solidFill>
              <a:schemeClr val="tx1">
                <a:lumMod val="65000"/>
                <a:lumOff val="35000"/>
              </a:schemeClr>
            </a:solidFill>
            <a:latin typeface="Calibri" panose="020F0502020204030204" pitchFamily="34" charset="0"/>
          </a:endParaRPr>
        </a:p>
      </dgm:t>
    </dgm:pt>
    <dgm:pt modelId="{B2E88B47-BE98-4A76-A8A0-645B6402FBA0}" type="parTrans" cxnId="{2BFCC83B-9FC5-4E00-98F9-A7A24AA4A1F8}">
      <dgm:prSet/>
      <dgm:spPr/>
      <dgm:t>
        <a:bodyPr/>
        <a:lstStyle/>
        <a:p>
          <a:endParaRPr lang="es-ES"/>
        </a:p>
      </dgm:t>
    </dgm:pt>
    <dgm:pt modelId="{852CAFDB-8BE7-417C-B64B-C5BE4A03CC18}" type="sibTrans" cxnId="{2BFCC83B-9FC5-4E00-98F9-A7A24AA4A1F8}">
      <dgm:prSet/>
      <dgm:spPr/>
      <dgm:t>
        <a:bodyPr/>
        <a:lstStyle/>
        <a:p>
          <a:endParaRPr lang="es-ES"/>
        </a:p>
      </dgm:t>
    </dgm:pt>
    <dgm:pt modelId="{73F940C1-8F01-4ACB-B6CE-D9DCC3E01636}">
      <dgm:prSet phldrT="[Texto]" custT="1"/>
      <dgm:spPr>
        <a:solidFill>
          <a:srgbClr val="9966FF"/>
        </a:solidFill>
      </dgm:spPr>
      <dgm:t>
        <a:bodyPr/>
        <a:lstStyle/>
        <a:p>
          <a:r>
            <a:rPr lang="es-ES" sz="2000" b="1" kern="1200" dirty="0">
              <a:solidFill>
                <a:schemeClr val="tx1">
                  <a:lumMod val="65000"/>
                  <a:lumOff val="35000"/>
                </a:schemeClr>
              </a:solidFill>
              <a:latin typeface="Calibri" panose="020F0502020204030204" pitchFamily="34" charset="0"/>
              <a:ea typeface="+mn-ea"/>
              <a:cs typeface="+mn-cs"/>
            </a:rPr>
            <a:t>Modelar</a:t>
          </a:r>
          <a:endParaRPr lang="es-ES" sz="1800" b="1" kern="1200" dirty="0">
            <a:solidFill>
              <a:schemeClr val="tx1">
                <a:lumMod val="65000"/>
                <a:lumOff val="35000"/>
              </a:schemeClr>
            </a:solidFill>
            <a:latin typeface="Calibri" panose="020F0502020204030204" pitchFamily="34" charset="0"/>
            <a:ea typeface="+mn-ea"/>
            <a:cs typeface="+mn-cs"/>
          </a:endParaRPr>
        </a:p>
      </dgm:t>
    </dgm:pt>
    <dgm:pt modelId="{1331DDD4-2F79-46A8-890A-5A9B3CDAD16B}" type="parTrans" cxnId="{E98369D6-3D64-498E-8902-583BD1CACDA3}">
      <dgm:prSet/>
      <dgm:spPr/>
      <dgm:t>
        <a:bodyPr/>
        <a:lstStyle/>
        <a:p>
          <a:endParaRPr lang="es-ES"/>
        </a:p>
      </dgm:t>
    </dgm:pt>
    <dgm:pt modelId="{42C13B94-7C36-4447-9287-563314676B5E}" type="sibTrans" cxnId="{E98369D6-3D64-498E-8902-583BD1CACDA3}">
      <dgm:prSet/>
      <dgm:spPr/>
      <dgm:t>
        <a:bodyPr/>
        <a:lstStyle/>
        <a:p>
          <a:endParaRPr lang="es-ES"/>
        </a:p>
      </dgm:t>
    </dgm:pt>
    <dgm:pt modelId="{451A3566-6316-4712-AA7A-AADA79692800}">
      <dgm:prSet phldrT="[Texto]" custT="1"/>
      <dgm:spPr>
        <a:solidFill>
          <a:srgbClr val="00FFFF"/>
        </a:solidFill>
      </dgm:spPr>
      <dgm:t>
        <a:bodyPr/>
        <a:lstStyle/>
        <a:p>
          <a:r>
            <a:rPr lang="es-ES" sz="2000" b="1" dirty="0">
              <a:solidFill>
                <a:schemeClr val="tx1">
                  <a:lumMod val="65000"/>
                  <a:lumOff val="35000"/>
                </a:schemeClr>
              </a:solidFill>
              <a:latin typeface="Calibri" panose="020F0502020204030204" pitchFamily="34" charset="0"/>
            </a:rPr>
            <a:t>Desplegar</a:t>
          </a:r>
          <a:endParaRPr lang="es-ES" sz="1800" b="1" dirty="0">
            <a:solidFill>
              <a:schemeClr val="tx1">
                <a:lumMod val="65000"/>
                <a:lumOff val="35000"/>
              </a:schemeClr>
            </a:solidFill>
            <a:latin typeface="Calibri" panose="020F0502020204030204" pitchFamily="34" charset="0"/>
          </a:endParaRPr>
        </a:p>
      </dgm:t>
    </dgm:pt>
    <dgm:pt modelId="{5BBA5D67-8258-49BC-AE7C-B616B627B896}" type="parTrans" cxnId="{83D32BD1-00EE-4A3A-B445-3F024C215B6D}">
      <dgm:prSet/>
      <dgm:spPr/>
      <dgm:t>
        <a:bodyPr/>
        <a:lstStyle/>
        <a:p>
          <a:endParaRPr lang="es-ES"/>
        </a:p>
      </dgm:t>
    </dgm:pt>
    <dgm:pt modelId="{45C26ADB-AE83-4DD6-84B1-43E90EE2A2B0}" type="sibTrans" cxnId="{83D32BD1-00EE-4A3A-B445-3F024C215B6D}">
      <dgm:prSet/>
      <dgm:spPr/>
      <dgm:t>
        <a:bodyPr/>
        <a:lstStyle/>
        <a:p>
          <a:endParaRPr lang="es-ES"/>
        </a:p>
      </dgm:t>
    </dgm:pt>
    <dgm:pt modelId="{B18B9F19-AA78-41C8-BC54-D0EF040C52BC}">
      <dgm:prSet phldrT="[Texto]" custT="1"/>
      <dgm:spPr>
        <a:solidFill>
          <a:srgbClr val="FFFF00"/>
        </a:solidFill>
      </dgm:spPr>
      <dgm:t>
        <a:bodyPr/>
        <a:lstStyle/>
        <a:p>
          <a:r>
            <a:rPr lang="es-ES" sz="2000" b="1" dirty="0">
              <a:solidFill>
                <a:schemeClr val="tx1">
                  <a:lumMod val="65000"/>
                  <a:lumOff val="35000"/>
                </a:schemeClr>
              </a:solidFill>
              <a:latin typeface="Calibri" panose="020F0502020204030204" pitchFamily="34" charset="0"/>
            </a:rPr>
            <a:t>Evaluar</a:t>
          </a:r>
          <a:endParaRPr lang="es-ES" sz="1800" b="1" dirty="0">
            <a:solidFill>
              <a:schemeClr val="tx1">
                <a:lumMod val="65000"/>
                <a:lumOff val="35000"/>
              </a:schemeClr>
            </a:solidFill>
            <a:latin typeface="Calibri" panose="020F0502020204030204" pitchFamily="34" charset="0"/>
          </a:endParaRPr>
        </a:p>
      </dgm:t>
    </dgm:pt>
    <dgm:pt modelId="{899C260E-31EC-407E-84DE-67AC653A6BDB}" type="sibTrans" cxnId="{E8EB7D8C-7279-466F-BAA0-3E09D85B8611}">
      <dgm:prSet/>
      <dgm:spPr/>
      <dgm:t>
        <a:bodyPr/>
        <a:lstStyle/>
        <a:p>
          <a:endParaRPr lang="es-ES"/>
        </a:p>
      </dgm:t>
    </dgm:pt>
    <dgm:pt modelId="{D3F6ED57-F5FC-478F-A191-EED3796148CB}" type="parTrans" cxnId="{E8EB7D8C-7279-466F-BAA0-3E09D85B8611}">
      <dgm:prSet/>
      <dgm:spPr/>
      <dgm:t>
        <a:bodyPr/>
        <a:lstStyle/>
        <a:p>
          <a:endParaRPr lang="es-ES"/>
        </a:p>
      </dgm:t>
    </dgm:pt>
    <dgm:pt modelId="{F5FD0043-009E-4AA4-BB5B-E05F40D38867}" type="pres">
      <dgm:prSet presAssocID="{0700845B-E8FF-4F2A-A025-4F34CEE8BCE4}" presName="cycle" presStyleCnt="0">
        <dgm:presLayoutVars>
          <dgm:dir/>
          <dgm:resizeHandles val="exact"/>
        </dgm:presLayoutVars>
      </dgm:prSet>
      <dgm:spPr/>
      <dgm:t>
        <a:bodyPr/>
        <a:lstStyle/>
        <a:p>
          <a:endParaRPr lang="es-ES"/>
        </a:p>
      </dgm:t>
    </dgm:pt>
    <dgm:pt modelId="{DB60F9EE-3C92-4779-9821-0CB544BD9E8F}" type="pres">
      <dgm:prSet presAssocID="{F24EA7C1-1045-45D4-8EC0-51E0A4CF7359}" presName="node" presStyleLbl="node1" presStyleIdx="0" presStyleCnt="6" custScaleX="138686" custScaleY="138686" custRadScaleRad="101813" custRadScaleInc="-244">
        <dgm:presLayoutVars>
          <dgm:bulletEnabled val="1"/>
        </dgm:presLayoutVars>
      </dgm:prSet>
      <dgm:spPr/>
      <dgm:t>
        <a:bodyPr/>
        <a:lstStyle/>
        <a:p>
          <a:endParaRPr lang="es-ES"/>
        </a:p>
      </dgm:t>
    </dgm:pt>
    <dgm:pt modelId="{5A01EFBB-1D26-4BF8-BEBA-6A2C93AE6A63}" type="pres">
      <dgm:prSet presAssocID="{D903ADB8-ECFF-4A45-A93D-7D2C40A3D12A}" presName="sibTrans" presStyleLbl="sibTrans2D1" presStyleIdx="0" presStyleCnt="6"/>
      <dgm:spPr/>
      <dgm:t>
        <a:bodyPr/>
        <a:lstStyle/>
        <a:p>
          <a:endParaRPr lang="es-ES"/>
        </a:p>
      </dgm:t>
    </dgm:pt>
    <dgm:pt modelId="{F6250DCE-BE9B-48B5-B6AB-BA0641CBB987}" type="pres">
      <dgm:prSet presAssocID="{D903ADB8-ECFF-4A45-A93D-7D2C40A3D12A}" presName="connectorText" presStyleLbl="sibTrans2D1" presStyleIdx="0" presStyleCnt="6"/>
      <dgm:spPr/>
      <dgm:t>
        <a:bodyPr/>
        <a:lstStyle/>
        <a:p>
          <a:endParaRPr lang="es-ES"/>
        </a:p>
      </dgm:t>
    </dgm:pt>
    <dgm:pt modelId="{0317D606-82CF-4B56-8D91-EFE7DEE82273}" type="pres">
      <dgm:prSet presAssocID="{AF2C0FB1-0CC8-45E1-91FF-3E5E15A811DA}" presName="node" presStyleLbl="node1" presStyleIdx="1" presStyleCnt="6" custScaleX="148944" custScaleY="138684">
        <dgm:presLayoutVars>
          <dgm:bulletEnabled val="1"/>
        </dgm:presLayoutVars>
      </dgm:prSet>
      <dgm:spPr/>
      <dgm:t>
        <a:bodyPr/>
        <a:lstStyle/>
        <a:p>
          <a:endParaRPr lang="es-ES"/>
        </a:p>
      </dgm:t>
    </dgm:pt>
    <dgm:pt modelId="{0B7079B3-B9D0-4493-928A-24ED58D102CF}" type="pres">
      <dgm:prSet presAssocID="{B3F1DAB7-8ACD-4FE5-AA09-F538868468E4}" presName="sibTrans" presStyleLbl="sibTrans2D1" presStyleIdx="1" presStyleCnt="6"/>
      <dgm:spPr/>
      <dgm:t>
        <a:bodyPr/>
        <a:lstStyle/>
        <a:p>
          <a:endParaRPr lang="es-ES"/>
        </a:p>
      </dgm:t>
    </dgm:pt>
    <dgm:pt modelId="{F6EBAF26-4639-463E-85DA-6461C8087ED3}" type="pres">
      <dgm:prSet presAssocID="{B3F1DAB7-8ACD-4FE5-AA09-F538868468E4}" presName="connectorText" presStyleLbl="sibTrans2D1" presStyleIdx="1" presStyleCnt="6"/>
      <dgm:spPr/>
      <dgm:t>
        <a:bodyPr/>
        <a:lstStyle/>
        <a:p>
          <a:endParaRPr lang="es-ES"/>
        </a:p>
      </dgm:t>
    </dgm:pt>
    <dgm:pt modelId="{3B60C7BB-D61F-47FA-B602-D9C0C1C7D5F9}" type="pres">
      <dgm:prSet presAssocID="{369D558C-F498-4621-9422-F17432972213}" presName="node" presStyleLbl="node1" presStyleIdx="2" presStyleCnt="6" custScaleX="138686" custScaleY="138686">
        <dgm:presLayoutVars>
          <dgm:bulletEnabled val="1"/>
        </dgm:presLayoutVars>
      </dgm:prSet>
      <dgm:spPr/>
      <dgm:t>
        <a:bodyPr/>
        <a:lstStyle/>
        <a:p>
          <a:endParaRPr lang="es-ES"/>
        </a:p>
      </dgm:t>
    </dgm:pt>
    <dgm:pt modelId="{E78E6F97-0B61-4C5E-8130-0EDA5606F211}" type="pres">
      <dgm:prSet presAssocID="{852CAFDB-8BE7-417C-B64B-C5BE4A03CC18}" presName="sibTrans" presStyleLbl="sibTrans2D1" presStyleIdx="2" presStyleCnt="6"/>
      <dgm:spPr/>
      <dgm:t>
        <a:bodyPr/>
        <a:lstStyle/>
        <a:p>
          <a:endParaRPr lang="es-ES"/>
        </a:p>
      </dgm:t>
    </dgm:pt>
    <dgm:pt modelId="{4A1C4B42-7AA2-472C-97F9-2C11CFF92B49}" type="pres">
      <dgm:prSet presAssocID="{852CAFDB-8BE7-417C-B64B-C5BE4A03CC18}" presName="connectorText" presStyleLbl="sibTrans2D1" presStyleIdx="2" presStyleCnt="6"/>
      <dgm:spPr/>
      <dgm:t>
        <a:bodyPr/>
        <a:lstStyle/>
        <a:p>
          <a:endParaRPr lang="es-ES"/>
        </a:p>
      </dgm:t>
    </dgm:pt>
    <dgm:pt modelId="{FA42DDF2-F411-4E70-9E98-BCB75795F7C8}" type="pres">
      <dgm:prSet presAssocID="{73F940C1-8F01-4ACB-B6CE-D9DCC3E01636}" presName="node" presStyleLbl="node1" presStyleIdx="3" presStyleCnt="6" custScaleX="138686" custScaleY="138686">
        <dgm:presLayoutVars>
          <dgm:bulletEnabled val="1"/>
        </dgm:presLayoutVars>
      </dgm:prSet>
      <dgm:spPr/>
      <dgm:t>
        <a:bodyPr/>
        <a:lstStyle/>
        <a:p>
          <a:endParaRPr lang="es-ES"/>
        </a:p>
      </dgm:t>
    </dgm:pt>
    <dgm:pt modelId="{BA9907A3-A298-4961-A0B9-D8EAF7F9F086}" type="pres">
      <dgm:prSet presAssocID="{42C13B94-7C36-4447-9287-563314676B5E}" presName="sibTrans" presStyleLbl="sibTrans2D1" presStyleIdx="3" presStyleCnt="6"/>
      <dgm:spPr/>
      <dgm:t>
        <a:bodyPr/>
        <a:lstStyle/>
        <a:p>
          <a:endParaRPr lang="es-ES"/>
        </a:p>
      </dgm:t>
    </dgm:pt>
    <dgm:pt modelId="{AD098BAA-6DEC-45E5-89F7-E6437241614C}" type="pres">
      <dgm:prSet presAssocID="{42C13B94-7C36-4447-9287-563314676B5E}" presName="connectorText" presStyleLbl="sibTrans2D1" presStyleIdx="3" presStyleCnt="6"/>
      <dgm:spPr/>
      <dgm:t>
        <a:bodyPr/>
        <a:lstStyle/>
        <a:p>
          <a:endParaRPr lang="es-ES"/>
        </a:p>
      </dgm:t>
    </dgm:pt>
    <dgm:pt modelId="{4D757EF9-D4AE-4696-9F29-DF9B3359CACB}" type="pres">
      <dgm:prSet presAssocID="{B18B9F19-AA78-41C8-BC54-D0EF040C52BC}" presName="node" presStyleLbl="node1" presStyleIdx="4" presStyleCnt="6" custScaleX="138686" custScaleY="138686">
        <dgm:presLayoutVars>
          <dgm:bulletEnabled val="1"/>
        </dgm:presLayoutVars>
      </dgm:prSet>
      <dgm:spPr/>
      <dgm:t>
        <a:bodyPr/>
        <a:lstStyle/>
        <a:p>
          <a:endParaRPr lang="es-ES"/>
        </a:p>
      </dgm:t>
    </dgm:pt>
    <dgm:pt modelId="{86DDCD6C-323C-4386-9277-E810E6C4DAC2}" type="pres">
      <dgm:prSet presAssocID="{899C260E-31EC-407E-84DE-67AC653A6BDB}" presName="sibTrans" presStyleLbl="sibTrans2D1" presStyleIdx="4" presStyleCnt="6"/>
      <dgm:spPr/>
      <dgm:t>
        <a:bodyPr/>
        <a:lstStyle/>
        <a:p>
          <a:endParaRPr lang="es-ES"/>
        </a:p>
      </dgm:t>
    </dgm:pt>
    <dgm:pt modelId="{A251BA8E-1F0C-4F0E-B0B4-3291F7593888}" type="pres">
      <dgm:prSet presAssocID="{899C260E-31EC-407E-84DE-67AC653A6BDB}" presName="connectorText" presStyleLbl="sibTrans2D1" presStyleIdx="4" presStyleCnt="6"/>
      <dgm:spPr/>
      <dgm:t>
        <a:bodyPr/>
        <a:lstStyle/>
        <a:p>
          <a:endParaRPr lang="es-ES"/>
        </a:p>
      </dgm:t>
    </dgm:pt>
    <dgm:pt modelId="{54A84956-A131-4D09-BDCC-10DED1A8D6EB}" type="pres">
      <dgm:prSet presAssocID="{451A3566-6316-4712-AA7A-AADA79692800}" presName="node" presStyleLbl="node1" presStyleIdx="5" presStyleCnt="6" custScaleX="138686" custScaleY="138686">
        <dgm:presLayoutVars>
          <dgm:bulletEnabled val="1"/>
        </dgm:presLayoutVars>
      </dgm:prSet>
      <dgm:spPr/>
      <dgm:t>
        <a:bodyPr/>
        <a:lstStyle/>
        <a:p>
          <a:endParaRPr lang="es-ES"/>
        </a:p>
      </dgm:t>
    </dgm:pt>
    <dgm:pt modelId="{FB2A6565-880D-4CAA-A8F7-243143B2B6D2}" type="pres">
      <dgm:prSet presAssocID="{45C26ADB-AE83-4DD6-84B1-43E90EE2A2B0}" presName="sibTrans" presStyleLbl="sibTrans2D1" presStyleIdx="5" presStyleCnt="6"/>
      <dgm:spPr/>
      <dgm:t>
        <a:bodyPr/>
        <a:lstStyle/>
        <a:p>
          <a:endParaRPr lang="es-ES"/>
        </a:p>
      </dgm:t>
    </dgm:pt>
    <dgm:pt modelId="{DBDD56AB-2779-4EAF-8D6F-F88677EFF36B}" type="pres">
      <dgm:prSet presAssocID="{45C26ADB-AE83-4DD6-84B1-43E90EE2A2B0}" presName="connectorText" presStyleLbl="sibTrans2D1" presStyleIdx="5" presStyleCnt="6"/>
      <dgm:spPr/>
      <dgm:t>
        <a:bodyPr/>
        <a:lstStyle/>
        <a:p>
          <a:endParaRPr lang="es-ES"/>
        </a:p>
      </dgm:t>
    </dgm:pt>
  </dgm:ptLst>
  <dgm:cxnLst>
    <dgm:cxn modelId="{3832429C-8B15-4475-B80E-A8B0376057CC}" type="presOf" srcId="{45C26ADB-AE83-4DD6-84B1-43E90EE2A2B0}" destId="{FB2A6565-880D-4CAA-A8F7-243143B2B6D2}" srcOrd="0" destOrd="0" presId="urn:microsoft.com/office/officeart/2005/8/layout/cycle2"/>
    <dgm:cxn modelId="{208C030C-D671-48BA-9887-B962D2A27063}" type="presOf" srcId="{42C13B94-7C36-4447-9287-563314676B5E}" destId="{BA9907A3-A298-4961-A0B9-D8EAF7F9F086}" srcOrd="0" destOrd="0" presId="urn:microsoft.com/office/officeart/2005/8/layout/cycle2"/>
    <dgm:cxn modelId="{740A4DE7-962F-40E3-BF91-6544D7CD7C9D}" type="presOf" srcId="{B3F1DAB7-8ACD-4FE5-AA09-F538868468E4}" destId="{0B7079B3-B9D0-4493-928A-24ED58D102CF}" srcOrd="0" destOrd="0" presId="urn:microsoft.com/office/officeart/2005/8/layout/cycle2"/>
    <dgm:cxn modelId="{E8EB7D8C-7279-466F-BAA0-3E09D85B8611}" srcId="{0700845B-E8FF-4F2A-A025-4F34CEE8BCE4}" destId="{B18B9F19-AA78-41C8-BC54-D0EF040C52BC}" srcOrd="4" destOrd="0" parTransId="{D3F6ED57-F5FC-478F-A191-EED3796148CB}" sibTransId="{899C260E-31EC-407E-84DE-67AC653A6BDB}"/>
    <dgm:cxn modelId="{4118D54E-B6AD-4E13-B285-F8D3321F22FE}" srcId="{0700845B-E8FF-4F2A-A025-4F34CEE8BCE4}" destId="{F24EA7C1-1045-45D4-8EC0-51E0A4CF7359}" srcOrd="0" destOrd="0" parTransId="{2AE9D538-884D-4976-A5CD-71AA80267422}" sibTransId="{D903ADB8-ECFF-4A45-A93D-7D2C40A3D12A}"/>
    <dgm:cxn modelId="{1C6C43EB-1243-4371-8DC6-FD02803CB2C5}" type="presOf" srcId="{B18B9F19-AA78-41C8-BC54-D0EF040C52BC}" destId="{4D757EF9-D4AE-4696-9F29-DF9B3359CACB}" srcOrd="0" destOrd="0" presId="urn:microsoft.com/office/officeart/2005/8/layout/cycle2"/>
    <dgm:cxn modelId="{B0D43A68-C1B5-4361-AEBF-2A72C35FA921}" type="presOf" srcId="{B3F1DAB7-8ACD-4FE5-AA09-F538868468E4}" destId="{F6EBAF26-4639-463E-85DA-6461C8087ED3}" srcOrd="1" destOrd="0" presId="urn:microsoft.com/office/officeart/2005/8/layout/cycle2"/>
    <dgm:cxn modelId="{DBB83C1A-7D8E-4DCE-8E51-927862B8864E}" type="presOf" srcId="{899C260E-31EC-407E-84DE-67AC653A6BDB}" destId="{A251BA8E-1F0C-4F0E-B0B4-3291F7593888}" srcOrd="1" destOrd="0" presId="urn:microsoft.com/office/officeart/2005/8/layout/cycle2"/>
    <dgm:cxn modelId="{CB4262F4-E322-470B-AD3B-1834A56C9680}" type="presOf" srcId="{42C13B94-7C36-4447-9287-563314676B5E}" destId="{AD098BAA-6DEC-45E5-89F7-E6437241614C}" srcOrd="1" destOrd="0" presId="urn:microsoft.com/office/officeart/2005/8/layout/cycle2"/>
    <dgm:cxn modelId="{13A4A972-415F-463E-8B27-FA9AE60B98C0}" type="presOf" srcId="{F24EA7C1-1045-45D4-8EC0-51E0A4CF7359}" destId="{DB60F9EE-3C92-4779-9821-0CB544BD9E8F}" srcOrd="0" destOrd="0" presId="urn:microsoft.com/office/officeart/2005/8/layout/cycle2"/>
    <dgm:cxn modelId="{8BBE9410-3027-4423-9025-7F6DF167C12A}" type="presOf" srcId="{369D558C-F498-4621-9422-F17432972213}" destId="{3B60C7BB-D61F-47FA-B602-D9C0C1C7D5F9}" srcOrd="0" destOrd="0" presId="urn:microsoft.com/office/officeart/2005/8/layout/cycle2"/>
    <dgm:cxn modelId="{E98369D6-3D64-498E-8902-583BD1CACDA3}" srcId="{0700845B-E8FF-4F2A-A025-4F34CEE8BCE4}" destId="{73F940C1-8F01-4ACB-B6CE-D9DCC3E01636}" srcOrd="3" destOrd="0" parTransId="{1331DDD4-2F79-46A8-890A-5A9B3CDAD16B}" sibTransId="{42C13B94-7C36-4447-9287-563314676B5E}"/>
    <dgm:cxn modelId="{DB8CA4F4-77A7-40D2-9370-74A9227BF7F2}" type="presOf" srcId="{451A3566-6316-4712-AA7A-AADA79692800}" destId="{54A84956-A131-4D09-BDCC-10DED1A8D6EB}" srcOrd="0" destOrd="0" presId="urn:microsoft.com/office/officeart/2005/8/layout/cycle2"/>
    <dgm:cxn modelId="{2AC3BD77-7392-443F-8311-7FA2DFA133DD}" type="presOf" srcId="{852CAFDB-8BE7-417C-B64B-C5BE4A03CC18}" destId="{4A1C4B42-7AA2-472C-97F9-2C11CFF92B49}" srcOrd="1" destOrd="0" presId="urn:microsoft.com/office/officeart/2005/8/layout/cycle2"/>
    <dgm:cxn modelId="{2BFCC83B-9FC5-4E00-98F9-A7A24AA4A1F8}" srcId="{0700845B-E8FF-4F2A-A025-4F34CEE8BCE4}" destId="{369D558C-F498-4621-9422-F17432972213}" srcOrd="2" destOrd="0" parTransId="{B2E88B47-BE98-4A76-A8A0-645B6402FBA0}" sibTransId="{852CAFDB-8BE7-417C-B64B-C5BE4A03CC18}"/>
    <dgm:cxn modelId="{30F1B4ED-4841-4FC4-BB83-CD3FE92D18CC}" type="presOf" srcId="{AF2C0FB1-0CC8-45E1-91FF-3E5E15A811DA}" destId="{0317D606-82CF-4B56-8D91-EFE7DEE82273}" srcOrd="0" destOrd="0" presId="urn:microsoft.com/office/officeart/2005/8/layout/cycle2"/>
    <dgm:cxn modelId="{35399BE2-989C-4A36-BE4B-B02FD222C9D8}" type="presOf" srcId="{852CAFDB-8BE7-417C-B64B-C5BE4A03CC18}" destId="{E78E6F97-0B61-4C5E-8130-0EDA5606F211}" srcOrd="0" destOrd="0" presId="urn:microsoft.com/office/officeart/2005/8/layout/cycle2"/>
    <dgm:cxn modelId="{6D34CF9D-AE4A-4CF8-9B14-2952A0AE3F61}" type="presOf" srcId="{0700845B-E8FF-4F2A-A025-4F34CEE8BCE4}" destId="{F5FD0043-009E-4AA4-BB5B-E05F40D38867}" srcOrd="0" destOrd="0" presId="urn:microsoft.com/office/officeart/2005/8/layout/cycle2"/>
    <dgm:cxn modelId="{D1241B0F-E460-459A-9239-1FC2192CD152}" srcId="{0700845B-E8FF-4F2A-A025-4F34CEE8BCE4}" destId="{AF2C0FB1-0CC8-45E1-91FF-3E5E15A811DA}" srcOrd="1" destOrd="0" parTransId="{6CEABC01-5D20-475B-8EEE-19B57C952894}" sibTransId="{B3F1DAB7-8ACD-4FE5-AA09-F538868468E4}"/>
    <dgm:cxn modelId="{1A5BA4AD-6F87-4424-993D-624B6F1A5852}" type="presOf" srcId="{D903ADB8-ECFF-4A45-A93D-7D2C40A3D12A}" destId="{5A01EFBB-1D26-4BF8-BEBA-6A2C93AE6A63}" srcOrd="0" destOrd="0" presId="urn:microsoft.com/office/officeart/2005/8/layout/cycle2"/>
    <dgm:cxn modelId="{83D32BD1-00EE-4A3A-B445-3F024C215B6D}" srcId="{0700845B-E8FF-4F2A-A025-4F34CEE8BCE4}" destId="{451A3566-6316-4712-AA7A-AADA79692800}" srcOrd="5" destOrd="0" parTransId="{5BBA5D67-8258-49BC-AE7C-B616B627B896}" sibTransId="{45C26ADB-AE83-4DD6-84B1-43E90EE2A2B0}"/>
    <dgm:cxn modelId="{BAFA51A7-EBFB-430D-A23A-86909A5073FA}" type="presOf" srcId="{D903ADB8-ECFF-4A45-A93D-7D2C40A3D12A}" destId="{F6250DCE-BE9B-48B5-B6AB-BA0641CBB987}" srcOrd="1" destOrd="0" presId="urn:microsoft.com/office/officeart/2005/8/layout/cycle2"/>
    <dgm:cxn modelId="{3E5BE95F-3DBD-44EE-8ABC-0AB0F0E34D70}" type="presOf" srcId="{73F940C1-8F01-4ACB-B6CE-D9DCC3E01636}" destId="{FA42DDF2-F411-4E70-9E98-BCB75795F7C8}" srcOrd="0" destOrd="0" presId="urn:microsoft.com/office/officeart/2005/8/layout/cycle2"/>
    <dgm:cxn modelId="{E68DF19A-95F4-4B31-8D10-2062B274F1D8}" type="presOf" srcId="{899C260E-31EC-407E-84DE-67AC653A6BDB}" destId="{86DDCD6C-323C-4386-9277-E810E6C4DAC2}" srcOrd="0" destOrd="0" presId="urn:microsoft.com/office/officeart/2005/8/layout/cycle2"/>
    <dgm:cxn modelId="{73A6ABF5-5615-4EE8-857A-60F917985DFC}" type="presOf" srcId="{45C26ADB-AE83-4DD6-84B1-43E90EE2A2B0}" destId="{DBDD56AB-2779-4EAF-8D6F-F88677EFF36B}" srcOrd="1" destOrd="0" presId="urn:microsoft.com/office/officeart/2005/8/layout/cycle2"/>
    <dgm:cxn modelId="{ADEB16EB-E4DB-4325-9754-3497164CC000}" type="presParOf" srcId="{F5FD0043-009E-4AA4-BB5B-E05F40D38867}" destId="{DB60F9EE-3C92-4779-9821-0CB544BD9E8F}" srcOrd="0" destOrd="0" presId="urn:microsoft.com/office/officeart/2005/8/layout/cycle2"/>
    <dgm:cxn modelId="{1BC6068B-5996-45C5-B0DB-D01CB84C8CE4}" type="presParOf" srcId="{F5FD0043-009E-4AA4-BB5B-E05F40D38867}" destId="{5A01EFBB-1D26-4BF8-BEBA-6A2C93AE6A63}" srcOrd="1" destOrd="0" presId="urn:microsoft.com/office/officeart/2005/8/layout/cycle2"/>
    <dgm:cxn modelId="{CEF7E946-9A5B-4D1C-96C6-C5177103D135}" type="presParOf" srcId="{5A01EFBB-1D26-4BF8-BEBA-6A2C93AE6A63}" destId="{F6250DCE-BE9B-48B5-B6AB-BA0641CBB987}" srcOrd="0" destOrd="0" presId="urn:microsoft.com/office/officeart/2005/8/layout/cycle2"/>
    <dgm:cxn modelId="{6ED608C4-DD8C-4598-8681-9F4015EE5EE7}" type="presParOf" srcId="{F5FD0043-009E-4AA4-BB5B-E05F40D38867}" destId="{0317D606-82CF-4B56-8D91-EFE7DEE82273}" srcOrd="2" destOrd="0" presId="urn:microsoft.com/office/officeart/2005/8/layout/cycle2"/>
    <dgm:cxn modelId="{D102D36C-8842-46F2-8F6B-FAFC69411F03}" type="presParOf" srcId="{F5FD0043-009E-4AA4-BB5B-E05F40D38867}" destId="{0B7079B3-B9D0-4493-928A-24ED58D102CF}" srcOrd="3" destOrd="0" presId="urn:microsoft.com/office/officeart/2005/8/layout/cycle2"/>
    <dgm:cxn modelId="{3C914C90-81F1-49E5-80E5-C40EE1C11B1C}" type="presParOf" srcId="{0B7079B3-B9D0-4493-928A-24ED58D102CF}" destId="{F6EBAF26-4639-463E-85DA-6461C8087ED3}" srcOrd="0" destOrd="0" presId="urn:microsoft.com/office/officeart/2005/8/layout/cycle2"/>
    <dgm:cxn modelId="{3DA903F2-0D2C-4C27-9C03-F36782E416C8}" type="presParOf" srcId="{F5FD0043-009E-4AA4-BB5B-E05F40D38867}" destId="{3B60C7BB-D61F-47FA-B602-D9C0C1C7D5F9}" srcOrd="4" destOrd="0" presId="urn:microsoft.com/office/officeart/2005/8/layout/cycle2"/>
    <dgm:cxn modelId="{238A5E4E-CB5E-4BC3-A137-117B36EFAA04}" type="presParOf" srcId="{F5FD0043-009E-4AA4-BB5B-E05F40D38867}" destId="{E78E6F97-0B61-4C5E-8130-0EDA5606F211}" srcOrd="5" destOrd="0" presId="urn:microsoft.com/office/officeart/2005/8/layout/cycle2"/>
    <dgm:cxn modelId="{22E8E631-BEB5-4F58-8D3F-3F6AF3E3B0B8}" type="presParOf" srcId="{E78E6F97-0B61-4C5E-8130-0EDA5606F211}" destId="{4A1C4B42-7AA2-472C-97F9-2C11CFF92B49}" srcOrd="0" destOrd="0" presId="urn:microsoft.com/office/officeart/2005/8/layout/cycle2"/>
    <dgm:cxn modelId="{0E4A9D52-2FA0-4647-998A-4FC7F31EA2CC}" type="presParOf" srcId="{F5FD0043-009E-4AA4-BB5B-E05F40D38867}" destId="{FA42DDF2-F411-4E70-9E98-BCB75795F7C8}" srcOrd="6" destOrd="0" presId="urn:microsoft.com/office/officeart/2005/8/layout/cycle2"/>
    <dgm:cxn modelId="{B364AE43-3FDE-4978-9D2F-84E4A15BA9F1}" type="presParOf" srcId="{F5FD0043-009E-4AA4-BB5B-E05F40D38867}" destId="{BA9907A3-A298-4961-A0B9-D8EAF7F9F086}" srcOrd="7" destOrd="0" presId="urn:microsoft.com/office/officeart/2005/8/layout/cycle2"/>
    <dgm:cxn modelId="{C95439FC-81D6-4754-9643-7DD376038633}" type="presParOf" srcId="{BA9907A3-A298-4961-A0B9-D8EAF7F9F086}" destId="{AD098BAA-6DEC-45E5-89F7-E6437241614C}" srcOrd="0" destOrd="0" presId="urn:microsoft.com/office/officeart/2005/8/layout/cycle2"/>
    <dgm:cxn modelId="{B9AFBCF5-4660-4AED-8671-FF00B1A96DB4}" type="presParOf" srcId="{F5FD0043-009E-4AA4-BB5B-E05F40D38867}" destId="{4D757EF9-D4AE-4696-9F29-DF9B3359CACB}" srcOrd="8" destOrd="0" presId="urn:microsoft.com/office/officeart/2005/8/layout/cycle2"/>
    <dgm:cxn modelId="{F26FE80A-F713-49B5-8D95-6A17BC27A1D6}" type="presParOf" srcId="{F5FD0043-009E-4AA4-BB5B-E05F40D38867}" destId="{86DDCD6C-323C-4386-9277-E810E6C4DAC2}" srcOrd="9" destOrd="0" presId="urn:microsoft.com/office/officeart/2005/8/layout/cycle2"/>
    <dgm:cxn modelId="{5EE3C868-61E2-482E-88DB-71966104C638}" type="presParOf" srcId="{86DDCD6C-323C-4386-9277-E810E6C4DAC2}" destId="{A251BA8E-1F0C-4F0E-B0B4-3291F7593888}" srcOrd="0" destOrd="0" presId="urn:microsoft.com/office/officeart/2005/8/layout/cycle2"/>
    <dgm:cxn modelId="{9A0629AA-AF3A-4674-885D-668715461943}" type="presParOf" srcId="{F5FD0043-009E-4AA4-BB5B-E05F40D38867}" destId="{54A84956-A131-4D09-BDCC-10DED1A8D6EB}" srcOrd="10" destOrd="0" presId="urn:microsoft.com/office/officeart/2005/8/layout/cycle2"/>
    <dgm:cxn modelId="{7B28B223-AE58-404C-B93F-93DF40B9AD58}" type="presParOf" srcId="{F5FD0043-009E-4AA4-BB5B-E05F40D38867}" destId="{FB2A6565-880D-4CAA-A8F7-243143B2B6D2}" srcOrd="11" destOrd="0" presId="urn:microsoft.com/office/officeart/2005/8/layout/cycle2"/>
    <dgm:cxn modelId="{EB00000D-9B1F-4201-84A2-0625E40F1189}" type="presParOf" srcId="{FB2A6565-880D-4CAA-A8F7-243143B2B6D2}" destId="{DBDD56AB-2779-4EAF-8D6F-F88677EFF36B}"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96E7CD5-13C6-466C-8050-9F3E80209DF3}" type="doc">
      <dgm:prSet loTypeId="urn:microsoft.com/office/officeart/2005/8/layout/equation2" loCatId="relationship" qsTypeId="urn:microsoft.com/office/officeart/2005/8/quickstyle/simple1" qsCatId="simple" csTypeId="urn:microsoft.com/office/officeart/2005/8/colors/colorful1" csCatId="colorful" phldr="1"/>
      <dgm:spPr/>
      <dgm:t>
        <a:bodyPr/>
        <a:lstStyle/>
        <a:p>
          <a:endParaRPr lang="es-CO"/>
        </a:p>
      </dgm:t>
    </dgm:pt>
    <dgm:pt modelId="{2C1B44A8-8BBB-4F61-9BA7-77E0A22F7DD3}">
      <dgm:prSet phldrT="[Texto]" custT="1"/>
      <dgm:spPr>
        <a:xfrm>
          <a:off x="2056049" y="1387760"/>
          <a:ext cx="1839941" cy="795739"/>
        </a:xfrm>
        <a:prstGeom prst="ellipse">
          <a:avLst/>
        </a:prstGeom>
        <a:solidFill>
          <a:srgbClr val="9BBB59">
            <a:hueOff val="0"/>
            <a:satOff val="0"/>
            <a:lumOff val="0"/>
            <a:alphaOff val="0"/>
          </a:srgbClr>
        </a:solidFill>
        <a:ln w="25400" cap="flat" cmpd="sng" algn="ctr">
          <a:solidFill>
            <a:srgbClr val="2F2F2F">
              <a:hueOff val="0"/>
              <a:satOff val="0"/>
              <a:lumOff val="0"/>
              <a:alphaOff val="0"/>
            </a:srgbClr>
          </a:solidFill>
          <a:prstDash val="solid"/>
        </a:ln>
        <a:effectLst/>
      </dgm:spPr>
      <dgm:t>
        <a:bodyPr/>
        <a:lstStyle/>
        <a:p>
          <a:pPr>
            <a:buNone/>
          </a:pPr>
          <a:r>
            <a:rPr lang="es-CO" sz="1400" dirty="0">
              <a:solidFill>
                <a:srgbClr val="FFFFFF"/>
              </a:solidFill>
              <a:latin typeface="Trebuchet MS"/>
              <a:ea typeface="+mn-ea"/>
              <a:cs typeface="+mn-cs"/>
            </a:rPr>
            <a:t>Modelamiento matemático y estadístico</a:t>
          </a:r>
        </a:p>
      </dgm:t>
    </dgm:pt>
    <dgm:pt modelId="{27108B84-5090-42AE-A084-F287C90610BE}" type="parTrans" cxnId="{A43F8F2B-4971-45CA-A774-9E38306B4334}">
      <dgm:prSet/>
      <dgm:spPr/>
      <dgm:t>
        <a:bodyPr/>
        <a:lstStyle/>
        <a:p>
          <a:endParaRPr lang="es-CO" sz="1400"/>
        </a:p>
      </dgm:t>
    </dgm:pt>
    <dgm:pt modelId="{C77D468F-9D95-4A29-B5E6-5904745D8ADE}" type="sibTrans" cxnId="{A43F8F2B-4971-45CA-A774-9E38306B4334}">
      <dgm:prSet custT="1"/>
      <dgm:spPr>
        <a:xfrm>
          <a:off x="2745256" y="2248114"/>
          <a:ext cx="461529" cy="461529"/>
        </a:xfrm>
        <a:prstGeom prst="mathPlus">
          <a:avLst/>
        </a:prstGeom>
        <a:solidFill>
          <a:srgbClr val="9BBB59">
            <a:hueOff val="0"/>
            <a:satOff val="0"/>
            <a:lumOff val="0"/>
            <a:alphaOff val="0"/>
          </a:srgbClr>
        </a:solidFill>
        <a:ln>
          <a:noFill/>
        </a:ln>
        <a:effectLst/>
      </dgm:spPr>
      <dgm:t>
        <a:bodyPr/>
        <a:lstStyle/>
        <a:p>
          <a:pPr>
            <a:buNone/>
          </a:pPr>
          <a:endParaRPr lang="es-CO" sz="1400">
            <a:solidFill>
              <a:srgbClr val="2F2F2F"/>
            </a:solidFill>
            <a:latin typeface="Trebuchet MS"/>
            <a:ea typeface="+mn-ea"/>
            <a:cs typeface="+mn-cs"/>
          </a:endParaRPr>
        </a:p>
      </dgm:t>
    </dgm:pt>
    <dgm:pt modelId="{C3DE7C4C-8B26-4AB5-A18B-1D532D7BF1BD}">
      <dgm:prSet phldrT="[Texto]" custT="1"/>
      <dgm:spPr>
        <a:xfrm>
          <a:off x="2063175" y="1263"/>
          <a:ext cx="1825689" cy="795739"/>
        </a:xfrm>
        <a:prstGeom prst="ellipse">
          <a:avLst/>
        </a:prstGeom>
        <a:solidFill>
          <a:srgbClr val="92D050">
            <a:hueOff val="0"/>
            <a:satOff val="0"/>
            <a:lumOff val="0"/>
            <a:alphaOff val="0"/>
          </a:srgbClr>
        </a:solidFill>
        <a:ln w="25400" cap="flat" cmpd="sng" algn="ctr">
          <a:solidFill>
            <a:srgbClr val="2F2F2F">
              <a:hueOff val="0"/>
              <a:satOff val="0"/>
              <a:lumOff val="0"/>
              <a:alphaOff val="0"/>
            </a:srgbClr>
          </a:solidFill>
          <a:prstDash val="solid"/>
        </a:ln>
        <a:effectLst/>
      </dgm:spPr>
      <dgm:t>
        <a:bodyPr/>
        <a:lstStyle/>
        <a:p>
          <a:pPr>
            <a:buNone/>
          </a:pPr>
          <a:r>
            <a:rPr lang="es-CO" sz="1400" dirty="0">
              <a:solidFill>
                <a:srgbClr val="FFFFFF"/>
              </a:solidFill>
              <a:latin typeface="Trebuchet MS"/>
              <a:ea typeface="+mn-ea"/>
              <a:cs typeface="+mn-cs"/>
            </a:rPr>
            <a:t>Conocimiento de Negocio</a:t>
          </a:r>
        </a:p>
      </dgm:t>
    </dgm:pt>
    <dgm:pt modelId="{F0E14D4A-52BC-4A9C-BD38-778991A60B91}" type="parTrans" cxnId="{00C47B8C-7C5B-4629-BC38-4383BBD8941A}">
      <dgm:prSet/>
      <dgm:spPr/>
      <dgm:t>
        <a:bodyPr/>
        <a:lstStyle/>
        <a:p>
          <a:endParaRPr lang="es-CO" sz="1400"/>
        </a:p>
      </dgm:t>
    </dgm:pt>
    <dgm:pt modelId="{5D1B3CEC-E090-4EBC-B72E-83664C78AFA3}" type="sibTrans" cxnId="{00C47B8C-7C5B-4629-BC38-4383BBD8941A}">
      <dgm:prSet custT="1"/>
      <dgm:spPr>
        <a:xfrm>
          <a:off x="2745256" y="861617"/>
          <a:ext cx="461529" cy="461529"/>
        </a:xfrm>
        <a:prstGeom prst="mathPlus">
          <a:avLst/>
        </a:prstGeom>
        <a:solidFill>
          <a:srgbClr val="92D050">
            <a:hueOff val="0"/>
            <a:satOff val="0"/>
            <a:lumOff val="0"/>
            <a:alphaOff val="0"/>
          </a:srgbClr>
        </a:solidFill>
        <a:ln>
          <a:noFill/>
        </a:ln>
        <a:effectLst/>
      </dgm:spPr>
      <dgm:t>
        <a:bodyPr/>
        <a:lstStyle/>
        <a:p>
          <a:pPr>
            <a:buNone/>
          </a:pPr>
          <a:endParaRPr lang="es-CO" sz="1400">
            <a:solidFill>
              <a:srgbClr val="2F2F2F"/>
            </a:solidFill>
            <a:latin typeface="Trebuchet MS"/>
            <a:ea typeface="+mn-ea"/>
            <a:cs typeface="+mn-cs"/>
          </a:endParaRPr>
        </a:p>
      </dgm:t>
    </dgm:pt>
    <dgm:pt modelId="{F898F750-B10B-4E7A-AF38-9AE1A45B87AB}">
      <dgm:prSet phldrT="[Texto]" custT="1"/>
      <dgm:spPr>
        <a:xfrm>
          <a:off x="5194249" y="1683139"/>
          <a:ext cx="1906449" cy="1591479"/>
        </a:xfrm>
        <a:prstGeom prst="ellipse">
          <a:avLst/>
        </a:prstGeom>
        <a:solidFill>
          <a:srgbClr val="5DBF0C"/>
        </a:solidFill>
        <a:ln w="25400" cap="flat" cmpd="sng" algn="ctr">
          <a:solidFill>
            <a:srgbClr val="2F2F2F">
              <a:hueOff val="0"/>
              <a:satOff val="0"/>
              <a:lumOff val="0"/>
              <a:alphaOff val="0"/>
            </a:srgbClr>
          </a:solidFill>
          <a:prstDash val="solid"/>
        </a:ln>
        <a:effectLst/>
      </dgm:spPr>
      <dgm:t>
        <a:bodyPr/>
        <a:lstStyle/>
        <a:p>
          <a:pPr>
            <a:buNone/>
          </a:pPr>
          <a:r>
            <a:rPr lang="es-CO" sz="2000" b="1" dirty="0">
              <a:solidFill>
                <a:schemeClr val="bg1"/>
              </a:solidFill>
              <a:latin typeface="Trebuchet MS"/>
              <a:ea typeface="+mn-ea"/>
              <a:cs typeface="+mn-cs"/>
            </a:rPr>
            <a:t>Sistema de Analítica Predictiva</a:t>
          </a:r>
        </a:p>
      </dgm:t>
    </dgm:pt>
    <dgm:pt modelId="{228BEE87-C20E-4886-A834-576DC359D479}" type="parTrans" cxnId="{96637AE6-946B-4C12-BEAA-25E57E33CDE4}">
      <dgm:prSet/>
      <dgm:spPr/>
      <dgm:t>
        <a:bodyPr/>
        <a:lstStyle/>
        <a:p>
          <a:endParaRPr lang="es-CO" sz="1400"/>
        </a:p>
      </dgm:t>
    </dgm:pt>
    <dgm:pt modelId="{B227C3D7-C3A9-4391-A1B1-2B6FD880DCC3}" type="sibTrans" cxnId="{96637AE6-946B-4C12-BEAA-25E57E33CDE4}">
      <dgm:prSet/>
      <dgm:spPr/>
      <dgm:t>
        <a:bodyPr/>
        <a:lstStyle/>
        <a:p>
          <a:endParaRPr lang="es-CO" sz="1400"/>
        </a:p>
      </dgm:t>
    </dgm:pt>
    <dgm:pt modelId="{D5EB4878-3E27-41F4-807B-314340BC3346}">
      <dgm:prSet phldrT="[Texto]" custT="1"/>
      <dgm:spPr>
        <a:xfrm>
          <a:off x="2049437" y="4160755"/>
          <a:ext cx="1853166" cy="795739"/>
        </a:xfrm>
        <a:prstGeom prst="ellipse">
          <a:avLst/>
        </a:prstGeom>
        <a:solidFill>
          <a:srgbClr val="64E032">
            <a:hueOff val="0"/>
            <a:satOff val="0"/>
            <a:lumOff val="0"/>
            <a:alphaOff val="0"/>
          </a:srgbClr>
        </a:solidFill>
        <a:ln w="25400" cap="flat" cmpd="sng" algn="ctr">
          <a:solidFill>
            <a:srgbClr val="2F2F2F">
              <a:hueOff val="0"/>
              <a:satOff val="0"/>
              <a:lumOff val="0"/>
              <a:alphaOff val="0"/>
            </a:srgbClr>
          </a:solidFill>
          <a:prstDash val="solid"/>
        </a:ln>
        <a:effectLst/>
      </dgm:spPr>
      <dgm:t>
        <a:bodyPr/>
        <a:lstStyle/>
        <a:p>
          <a:pPr>
            <a:buNone/>
          </a:pPr>
          <a:r>
            <a:rPr lang="es-CO" sz="1400" dirty="0">
              <a:solidFill>
                <a:srgbClr val="FFFFFF"/>
              </a:solidFill>
              <a:latin typeface="Trebuchet MS"/>
              <a:ea typeface="+mn-ea"/>
              <a:cs typeface="+mn-cs"/>
            </a:rPr>
            <a:t>Herramienta de Visualización de datos</a:t>
          </a:r>
        </a:p>
      </dgm:t>
    </dgm:pt>
    <dgm:pt modelId="{F80C0965-406D-4D97-A579-3E09FDD12D5A}" type="parTrans" cxnId="{7B448F96-7142-4D4D-8BDD-CB3EBB0A3251}">
      <dgm:prSet/>
      <dgm:spPr/>
      <dgm:t>
        <a:bodyPr/>
        <a:lstStyle/>
        <a:p>
          <a:endParaRPr lang="es-CO"/>
        </a:p>
      </dgm:t>
    </dgm:pt>
    <dgm:pt modelId="{4B8157FE-DD13-43D0-88B7-2D0ABEC599A2}" type="sibTrans" cxnId="{7B448F96-7142-4D4D-8BDD-CB3EBB0A3251}">
      <dgm:prSet/>
      <dgm:spPr>
        <a:xfrm>
          <a:off x="4225515" y="2330871"/>
          <a:ext cx="684571" cy="296015"/>
        </a:xfrm>
        <a:prstGeom prst="rightArrow">
          <a:avLst>
            <a:gd name="adj1" fmla="val 60000"/>
            <a:gd name="adj2" fmla="val 50000"/>
          </a:avLst>
        </a:prstGeom>
        <a:solidFill>
          <a:srgbClr val="64E032">
            <a:hueOff val="0"/>
            <a:satOff val="0"/>
            <a:lumOff val="0"/>
            <a:alphaOff val="0"/>
          </a:srgbClr>
        </a:solidFill>
        <a:ln>
          <a:noFill/>
        </a:ln>
        <a:effectLst/>
      </dgm:spPr>
      <dgm:t>
        <a:bodyPr/>
        <a:lstStyle/>
        <a:p>
          <a:pPr>
            <a:buNone/>
          </a:pPr>
          <a:endParaRPr lang="es-CO">
            <a:solidFill>
              <a:srgbClr val="2F2F2F"/>
            </a:solidFill>
            <a:latin typeface="Trebuchet MS"/>
            <a:ea typeface="+mn-ea"/>
            <a:cs typeface="+mn-cs"/>
          </a:endParaRPr>
        </a:p>
      </dgm:t>
    </dgm:pt>
    <dgm:pt modelId="{5963CE3D-764D-429B-BC28-1B1CE5FF4742}">
      <dgm:prSet phldrT="[Texto]" custT="1"/>
      <dgm:spPr>
        <a:xfrm>
          <a:off x="2063175" y="2774258"/>
          <a:ext cx="1825689" cy="795739"/>
        </a:xfrm>
        <a:prstGeom prst="ellipse">
          <a:avLst/>
        </a:prstGeom>
        <a:solidFill>
          <a:srgbClr val="007934">
            <a:hueOff val="0"/>
            <a:satOff val="0"/>
            <a:lumOff val="0"/>
            <a:alphaOff val="0"/>
          </a:srgbClr>
        </a:solidFill>
        <a:ln w="25400" cap="flat" cmpd="sng" algn="ctr">
          <a:solidFill>
            <a:srgbClr val="2F2F2F">
              <a:hueOff val="0"/>
              <a:satOff val="0"/>
              <a:lumOff val="0"/>
              <a:alphaOff val="0"/>
            </a:srgbClr>
          </a:solidFill>
          <a:prstDash val="solid"/>
        </a:ln>
        <a:effectLst/>
      </dgm:spPr>
      <dgm:t>
        <a:bodyPr/>
        <a:lstStyle/>
        <a:p>
          <a:pPr>
            <a:buNone/>
          </a:pPr>
          <a:r>
            <a:rPr lang="es-CO" sz="1400" dirty="0">
              <a:solidFill>
                <a:srgbClr val="FFFFFF"/>
              </a:solidFill>
              <a:latin typeface="Trebuchet MS"/>
              <a:ea typeface="+mn-ea"/>
              <a:cs typeface="+mn-cs"/>
            </a:rPr>
            <a:t>Plataforma de Análisis Predictivo</a:t>
          </a:r>
        </a:p>
      </dgm:t>
    </dgm:pt>
    <dgm:pt modelId="{515CEA04-48D6-4FAA-B596-773677FD48BC}" type="parTrans" cxnId="{CFECB54D-BAE8-4DEA-BEDD-0348F76064BA}">
      <dgm:prSet/>
      <dgm:spPr/>
      <dgm:t>
        <a:bodyPr/>
        <a:lstStyle/>
        <a:p>
          <a:endParaRPr lang="es-CO"/>
        </a:p>
      </dgm:t>
    </dgm:pt>
    <dgm:pt modelId="{AD98D358-B95C-40BA-B8D2-FBC3B69B2ABD}" type="sibTrans" cxnId="{CFECB54D-BAE8-4DEA-BEDD-0348F76064BA}">
      <dgm:prSet/>
      <dgm:spPr>
        <a:xfrm>
          <a:off x="2745256" y="3634612"/>
          <a:ext cx="461529" cy="461529"/>
        </a:xfrm>
        <a:prstGeom prst="mathPlus">
          <a:avLst/>
        </a:prstGeom>
        <a:solidFill>
          <a:srgbClr val="007934">
            <a:hueOff val="0"/>
            <a:satOff val="0"/>
            <a:lumOff val="0"/>
            <a:alphaOff val="0"/>
          </a:srgbClr>
        </a:solidFill>
        <a:ln>
          <a:noFill/>
        </a:ln>
        <a:effectLst/>
      </dgm:spPr>
      <dgm:t>
        <a:bodyPr/>
        <a:lstStyle/>
        <a:p>
          <a:pPr>
            <a:buNone/>
          </a:pPr>
          <a:endParaRPr lang="es-CO">
            <a:solidFill>
              <a:srgbClr val="2F2F2F"/>
            </a:solidFill>
            <a:latin typeface="Trebuchet MS"/>
            <a:ea typeface="+mn-ea"/>
            <a:cs typeface="+mn-cs"/>
          </a:endParaRPr>
        </a:p>
      </dgm:t>
    </dgm:pt>
    <dgm:pt modelId="{AFEC8A12-F688-4486-BE8B-3721291E3A30}" type="pres">
      <dgm:prSet presAssocID="{496E7CD5-13C6-466C-8050-9F3E80209DF3}" presName="Name0" presStyleCnt="0">
        <dgm:presLayoutVars>
          <dgm:dir/>
          <dgm:resizeHandles val="exact"/>
        </dgm:presLayoutVars>
      </dgm:prSet>
      <dgm:spPr/>
      <dgm:t>
        <a:bodyPr/>
        <a:lstStyle/>
        <a:p>
          <a:endParaRPr lang="es-ES"/>
        </a:p>
      </dgm:t>
    </dgm:pt>
    <dgm:pt modelId="{3E83CDD4-4113-490D-BFC8-A05C1E5873DE}" type="pres">
      <dgm:prSet presAssocID="{496E7CD5-13C6-466C-8050-9F3E80209DF3}" presName="vNodes" presStyleCnt="0"/>
      <dgm:spPr/>
    </dgm:pt>
    <dgm:pt modelId="{0B7DB379-08B3-402F-8827-F367749E6B34}" type="pres">
      <dgm:prSet presAssocID="{C3DE7C4C-8B26-4AB5-A18B-1D532D7BF1BD}" presName="node" presStyleLbl="node1" presStyleIdx="0" presStyleCnt="5" custScaleX="229433">
        <dgm:presLayoutVars>
          <dgm:bulletEnabled val="1"/>
        </dgm:presLayoutVars>
      </dgm:prSet>
      <dgm:spPr/>
      <dgm:t>
        <a:bodyPr/>
        <a:lstStyle/>
        <a:p>
          <a:endParaRPr lang="es-ES"/>
        </a:p>
      </dgm:t>
    </dgm:pt>
    <dgm:pt modelId="{4A29ACA1-D13C-47E1-81EE-2622FD4C0D40}" type="pres">
      <dgm:prSet presAssocID="{5D1B3CEC-E090-4EBC-B72E-83664C78AFA3}" presName="spacerT" presStyleCnt="0"/>
      <dgm:spPr/>
    </dgm:pt>
    <dgm:pt modelId="{71529444-52D0-4A69-8F99-E9D2939EFB37}" type="pres">
      <dgm:prSet presAssocID="{5D1B3CEC-E090-4EBC-B72E-83664C78AFA3}" presName="sibTrans" presStyleLbl="sibTrans2D1" presStyleIdx="0" presStyleCnt="4"/>
      <dgm:spPr/>
      <dgm:t>
        <a:bodyPr/>
        <a:lstStyle/>
        <a:p>
          <a:endParaRPr lang="es-ES"/>
        </a:p>
      </dgm:t>
    </dgm:pt>
    <dgm:pt modelId="{5BFC3524-1018-4659-9BEA-6D00FC4C4277}" type="pres">
      <dgm:prSet presAssocID="{5D1B3CEC-E090-4EBC-B72E-83664C78AFA3}" presName="spacerB" presStyleCnt="0"/>
      <dgm:spPr/>
    </dgm:pt>
    <dgm:pt modelId="{64CD7D79-B61E-43D3-93C0-1BF7FB57F99B}" type="pres">
      <dgm:prSet presAssocID="{2C1B44A8-8BBB-4F61-9BA7-77E0A22F7DD3}" presName="node" presStyleLbl="node1" presStyleIdx="1" presStyleCnt="5" custScaleX="231224">
        <dgm:presLayoutVars>
          <dgm:bulletEnabled val="1"/>
        </dgm:presLayoutVars>
      </dgm:prSet>
      <dgm:spPr/>
      <dgm:t>
        <a:bodyPr/>
        <a:lstStyle/>
        <a:p>
          <a:endParaRPr lang="es-ES"/>
        </a:p>
      </dgm:t>
    </dgm:pt>
    <dgm:pt modelId="{94EA25F8-CAAB-421A-A0E8-9578015A25E4}" type="pres">
      <dgm:prSet presAssocID="{C77D468F-9D95-4A29-B5E6-5904745D8ADE}" presName="spacerT" presStyleCnt="0"/>
      <dgm:spPr/>
    </dgm:pt>
    <dgm:pt modelId="{FB442174-5917-46C1-8B6A-39D7747DE57E}" type="pres">
      <dgm:prSet presAssocID="{C77D468F-9D95-4A29-B5E6-5904745D8ADE}" presName="sibTrans" presStyleLbl="sibTrans2D1" presStyleIdx="1" presStyleCnt="4"/>
      <dgm:spPr/>
      <dgm:t>
        <a:bodyPr/>
        <a:lstStyle/>
        <a:p>
          <a:endParaRPr lang="es-ES"/>
        </a:p>
      </dgm:t>
    </dgm:pt>
    <dgm:pt modelId="{75DA5AEF-88AB-4681-AAF9-84457F434E0A}" type="pres">
      <dgm:prSet presAssocID="{C77D468F-9D95-4A29-B5E6-5904745D8ADE}" presName="spacerB" presStyleCnt="0"/>
      <dgm:spPr/>
    </dgm:pt>
    <dgm:pt modelId="{76B6BE3C-5272-4069-91F5-BA9981DAFFF0}" type="pres">
      <dgm:prSet presAssocID="{5963CE3D-764D-429B-BC28-1B1CE5FF4742}" presName="node" presStyleLbl="node1" presStyleIdx="2" presStyleCnt="5" custScaleX="229433">
        <dgm:presLayoutVars>
          <dgm:bulletEnabled val="1"/>
        </dgm:presLayoutVars>
      </dgm:prSet>
      <dgm:spPr/>
      <dgm:t>
        <a:bodyPr/>
        <a:lstStyle/>
        <a:p>
          <a:endParaRPr lang="es-ES"/>
        </a:p>
      </dgm:t>
    </dgm:pt>
    <dgm:pt modelId="{2C93BA6F-1362-4EF3-A6D5-D1E8A5023048}" type="pres">
      <dgm:prSet presAssocID="{AD98D358-B95C-40BA-B8D2-FBC3B69B2ABD}" presName="spacerT" presStyleCnt="0"/>
      <dgm:spPr/>
    </dgm:pt>
    <dgm:pt modelId="{6777155F-AE06-4BCE-8015-35F7A5D626C5}" type="pres">
      <dgm:prSet presAssocID="{AD98D358-B95C-40BA-B8D2-FBC3B69B2ABD}" presName="sibTrans" presStyleLbl="sibTrans2D1" presStyleIdx="2" presStyleCnt="4"/>
      <dgm:spPr/>
      <dgm:t>
        <a:bodyPr/>
        <a:lstStyle/>
        <a:p>
          <a:endParaRPr lang="es-ES"/>
        </a:p>
      </dgm:t>
    </dgm:pt>
    <dgm:pt modelId="{6D4457B5-E58C-4502-8148-0A2760194EB5}" type="pres">
      <dgm:prSet presAssocID="{AD98D358-B95C-40BA-B8D2-FBC3B69B2ABD}" presName="spacerB" presStyleCnt="0"/>
      <dgm:spPr/>
    </dgm:pt>
    <dgm:pt modelId="{53B13091-C5FC-4920-BBA8-FD08DF808C9D}" type="pres">
      <dgm:prSet presAssocID="{D5EB4878-3E27-41F4-807B-314340BC3346}" presName="node" presStyleLbl="node1" presStyleIdx="3" presStyleCnt="5" custScaleX="232886">
        <dgm:presLayoutVars>
          <dgm:bulletEnabled val="1"/>
        </dgm:presLayoutVars>
      </dgm:prSet>
      <dgm:spPr/>
      <dgm:t>
        <a:bodyPr/>
        <a:lstStyle/>
        <a:p>
          <a:endParaRPr lang="es-ES"/>
        </a:p>
      </dgm:t>
    </dgm:pt>
    <dgm:pt modelId="{80B65523-A025-4E03-8040-FB78673119AD}" type="pres">
      <dgm:prSet presAssocID="{496E7CD5-13C6-466C-8050-9F3E80209DF3}" presName="sibTransLast" presStyleLbl="sibTrans2D1" presStyleIdx="3" presStyleCnt="4"/>
      <dgm:spPr/>
      <dgm:t>
        <a:bodyPr/>
        <a:lstStyle/>
        <a:p>
          <a:endParaRPr lang="es-ES"/>
        </a:p>
      </dgm:t>
    </dgm:pt>
    <dgm:pt modelId="{76F34E9D-F7AF-4719-8118-83923130ADB6}" type="pres">
      <dgm:prSet presAssocID="{496E7CD5-13C6-466C-8050-9F3E80209DF3}" presName="connectorText" presStyleLbl="sibTrans2D1" presStyleIdx="3" presStyleCnt="4"/>
      <dgm:spPr/>
      <dgm:t>
        <a:bodyPr/>
        <a:lstStyle/>
        <a:p>
          <a:endParaRPr lang="es-ES"/>
        </a:p>
      </dgm:t>
    </dgm:pt>
    <dgm:pt modelId="{A7A0C30E-4402-407F-8DAF-8157E7A25914}" type="pres">
      <dgm:prSet presAssocID="{496E7CD5-13C6-466C-8050-9F3E80209DF3}" presName="lastNode" presStyleLbl="node1" presStyleIdx="4" presStyleCnt="5" custScaleX="119791" custLinFactX="21160" custLinFactNeighborX="100000">
        <dgm:presLayoutVars>
          <dgm:bulletEnabled val="1"/>
        </dgm:presLayoutVars>
      </dgm:prSet>
      <dgm:spPr/>
      <dgm:t>
        <a:bodyPr/>
        <a:lstStyle/>
        <a:p>
          <a:endParaRPr lang="es-ES"/>
        </a:p>
      </dgm:t>
    </dgm:pt>
  </dgm:ptLst>
  <dgm:cxnLst>
    <dgm:cxn modelId="{809FA299-B962-4FBB-A94E-BD3014349EB5}" type="presOf" srcId="{2C1B44A8-8BBB-4F61-9BA7-77E0A22F7DD3}" destId="{64CD7D79-B61E-43D3-93C0-1BF7FB57F99B}" srcOrd="0" destOrd="0" presId="urn:microsoft.com/office/officeart/2005/8/layout/equation2"/>
    <dgm:cxn modelId="{7AFC2908-C2A0-4E4B-9778-6CC296CBC5CA}" type="presOf" srcId="{D5EB4878-3E27-41F4-807B-314340BC3346}" destId="{53B13091-C5FC-4920-BBA8-FD08DF808C9D}" srcOrd="0" destOrd="0" presId="urn:microsoft.com/office/officeart/2005/8/layout/equation2"/>
    <dgm:cxn modelId="{FE668E6A-15D7-4C4D-83AE-E4BBADEE685A}" type="presOf" srcId="{AD98D358-B95C-40BA-B8D2-FBC3B69B2ABD}" destId="{6777155F-AE06-4BCE-8015-35F7A5D626C5}" srcOrd="0" destOrd="0" presId="urn:microsoft.com/office/officeart/2005/8/layout/equation2"/>
    <dgm:cxn modelId="{7B448F96-7142-4D4D-8BDD-CB3EBB0A3251}" srcId="{496E7CD5-13C6-466C-8050-9F3E80209DF3}" destId="{D5EB4878-3E27-41F4-807B-314340BC3346}" srcOrd="3" destOrd="0" parTransId="{F80C0965-406D-4D97-A579-3E09FDD12D5A}" sibTransId="{4B8157FE-DD13-43D0-88B7-2D0ABEC599A2}"/>
    <dgm:cxn modelId="{6220169A-CAE2-4605-9104-F76B406F2C80}" type="presOf" srcId="{5963CE3D-764D-429B-BC28-1B1CE5FF4742}" destId="{76B6BE3C-5272-4069-91F5-BA9981DAFFF0}" srcOrd="0" destOrd="0" presId="urn:microsoft.com/office/officeart/2005/8/layout/equation2"/>
    <dgm:cxn modelId="{DA5C96E6-D660-43CF-9288-8876E1C66B74}" type="presOf" srcId="{C3DE7C4C-8B26-4AB5-A18B-1D532D7BF1BD}" destId="{0B7DB379-08B3-402F-8827-F367749E6B34}" srcOrd="0" destOrd="0" presId="urn:microsoft.com/office/officeart/2005/8/layout/equation2"/>
    <dgm:cxn modelId="{42DA6100-D3A0-40A6-ADCB-6187B4E5216A}" type="presOf" srcId="{C77D468F-9D95-4A29-B5E6-5904745D8ADE}" destId="{FB442174-5917-46C1-8B6A-39D7747DE57E}" srcOrd="0" destOrd="0" presId="urn:microsoft.com/office/officeart/2005/8/layout/equation2"/>
    <dgm:cxn modelId="{2D31AFEC-A302-4E82-AF97-07832E58B48C}" type="presOf" srcId="{4B8157FE-DD13-43D0-88B7-2D0ABEC599A2}" destId="{80B65523-A025-4E03-8040-FB78673119AD}" srcOrd="0" destOrd="0" presId="urn:microsoft.com/office/officeart/2005/8/layout/equation2"/>
    <dgm:cxn modelId="{B826FF33-F577-40EB-9976-F40C6D172182}" type="presOf" srcId="{5D1B3CEC-E090-4EBC-B72E-83664C78AFA3}" destId="{71529444-52D0-4A69-8F99-E9D2939EFB37}" srcOrd="0" destOrd="0" presId="urn:microsoft.com/office/officeart/2005/8/layout/equation2"/>
    <dgm:cxn modelId="{A43F8F2B-4971-45CA-A774-9E38306B4334}" srcId="{496E7CD5-13C6-466C-8050-9F3E80209DF3}" destId="{2C1B44A8-8BBB-4F61-9BA7-77E0A22F7DD3}" srcOrd="1" destOrd="0" parTransId="{27108B84-5090-42AE-A084-F287C90610BE}" sibTransId="{C77D468F-9D95-4A29-B5E6-5904745D8ADE}"/>
    <dgm:cxn modelId="{927FBD50-D2A4-4DBB-B22F-A30D6D7B834B}" type="presOf" srcId="{4B8157FE-DD13-43D0-88B7-2D0ABEC599A2}" destId="{76F34E9D-F7AF-4719-8118-83923130ADB6}" srcOrd="1" destOrd="0" presId="urn:microsoft.com/office/officeart/2005/8/layout/equation2"/>
    <dgm:cxn modelId="{FD4C62E3-04BE-403A-BECD-2E6328876762}" type="presOf" srcId="{F898F750-B10B-4E7A-AF38-9AE1A45B87AB}" destId="{A7A0C30E-4402-407F-8DAF-8157E7A25914}" srcOrd="0" destOrd="0" presId="urn:microsoft.com/office/officeart/2005/8/layout/equation2"/>
    <dgm:cxn modelId="{00C47B8C-7C5B-4629-BC38-4383BBD8941A}" srcId="{496E7CD5-13C6-466C-8050-9F3E80209DF3}" destId="{C3DE7C4C-8B26-4AB5-A18B-1D532D7BF1BD}" srcOrd="0" destOrd="0" parTransId="{F0E14D4A-52BC-4A9C-BD38-778991A60B91}" sibTransId="{5D1B3CEC-E090-4EBC-B72E-83664C78AFA3}"/>
    <dgm:cxn modelId="{CFECB54D-BAE8-4DEA-BEDD-0348F76064BA}" srcId="{496E7CD5-13C6-466C-8050-9F3E80209DF3}" destId="{5963CE3D-764D-429B-BC28-1B1CE5FF4742}" srcOrd="2" destOrd="0" parTransId="{515CEA04-48D6-4FAA-B596-773677FD48BC}" sibTransId="{AD98D358-B95C-40BA-B8D2-FBC3B69B2ABD}"/>
    <dgm:cxn modelId="{C658E431-99F6-41DE-A363-44BCD20D4E37}" type="presOf" srcId="{496E7CD5-13C6-466C-8050-9F3E80209DF3}" destId="{AFEC8A12-F688-4486-BE8B-3721291E3A30}" srcOrd="0" destOrd="0" presId="urn:microsoft.com/office/officeart/2005/8/layout/equation2"/>
    <dgm:cxn modelId="{96637AE6-946B-4C12-BEAA-25E57E33CDE4}" srcId="{496E7CD5-13C6-466C-8050-9F3E80209DF3}" destId="{F898F750-B10B-4E7A-AF38-9AE1A45B87AB}" srcOrd="4" destOrd="0" parTransId="{228BEE87-C20E-4886-A834-576DC359D479}" sibTransId="{B227C3D7-C3A9-4391-A1B1-2B6FD880DCC3}"/>
    <dgm:cxn modelId="{B2684FB7-DD26-45EF-A516-5498E7A6D660}" type="presParOf" srcId="{AFEC8A12-F688-4486-BE8B-3721291E3A30}" destId="{3E83CDD4-4113-490D-BFC8-A05C1E5873DE}" srcOrd="0" destOrd="0" presId="urn:microsoft.com/office/officeart/2005/8/layout/equation2"/>
    <dgm:cxn modelId="{0A27366C-C7CA-4517-BFB1-D501A36B33F6}" type="presParOf" srcId="{3E83CDD4-4113-490D-BFC8-A05C1E5873DE}" destId="{0B7DB379-08B3-402F-8827-F367749E6B34}" srcOrd="0" destOrd="0" presId="urn:microsoft.com/office/officeart/2005/8/layout/equation2"/>
    <dgm:cxn modelId="{6D6428B5-7774-46F6-9058-C47F7B523D31}" type="presParOf" srcId="{3E83CDD4-4113-490D-BFC8-A05C1E5873DE}" destId="{4A29ACA1-D13C-47E1-81EE-2622FD4C0D40}" srcOrd="1" destOrd="0" presId="urn:microsoft.com/office/officeart/2005/8/layout/equation2"/>
    <dgm:cxn modelId="{9D5A1801-49B9-410F-B6D3-D3FA2FFCFEDD}" type="presParOf" srcId="{3E83CDD4-4113-490D-BFC8-A05C1E5873DE}" destId="{71529444-52D0-4A69-8F99-E9D2939EFB37}" srcOrd="2" destOrd="0" presId="urn:microsoft.com/office/officeart/2005/8/layout/equation2"/>
    <dgm:cxn modelId="{ABE4BFC8-E73B-4A85-ADA8-497BC48C5C70}" type="presParOf" srcId="{3E83CDD4-4113-490D-BFC8-A05C1E5873DE}" destId="{5BFC3524-1018-4659-9BEA-6D00FC4C4277}" srcOrd="3" destOrd="0" presId="urn:microsoft.com/office/officeart/2005/8/layout/equation2"/>
    <dgm:cxn modelId="{9C48F181-F111-41B5-879A-8BE1A1880BF0}" type="presParOf" srcId="{3E83CDD4-4113-490D-BFC8-A05C1E5873DE}" destId="{64CD7D79-B61E-43D3-93C0-1BF7FB57F99B}" srcOrd="4" destOrd="0" presId="urn:microsoft.com/office/officeart/2005/8/layout/equation2"/>
    <dgm:cxn modelId="{7757C387-7068-4A9D-8887-FC523683C2AF}" type="presParOf" srcId="{3E83CDD4-4113-490D-BFC8-A05C1E5873DE}" destId="{94EA25F8-CAAB-421A-A0E8-9578015A25E4}" srcOrd="5" destOrd="0" presId="urn:microsoft.com/office/officeart/2005/8/layout/equation2"/>
    <dgm:cxn modelId="{FF3D6BE2-D55E-4D7A-ABBA-99C01C676AC2}" type="presParOf" srcId="{3E83CDD4-4113-490D-BFC8-A05C1E5873DE}" destId="{FB442174-5917-46C1-8B6A-39D7747DE57E}" srcOrd="6" destOrd="0" presId="urn:microsoft.com/office/officeart/2005/8/layout/equation2"/>
    <dgm:cxn modelId="{3F6C60DC-7E74-4F91-B058-079C41CB2D81}" type="presParOf" srcId="{3E83CDD4-4113-490D-BFC8-A05C1E5873DE}" destId="{75DA5AEF-88AB-4681-AAF9-84457F434E0A}" srcOrd="7" destOrd="0" presId="urn:microsoft.com/office/officeart/2005/8/layout/equation2"/>
    <dgm:cxn modelId="{1C04685D-6B64-4786-AB48-D93A8F6629DC}" type="presParOf" srcId="{3E83CDD4-4113-490D-BFC8-A05C1E5873DE}" destId="{76B6BE3C-5272-4069-91F5-BA9981DAFFF0}" srcOrd="8" destOrd="0" presId="urn:microsoft.com/office/officeart/2005/8/layout/equation2"/>
    <dgm:cxn modelId="{51903DCA-14B3-4BE2-BBCB-FBAF604FC5D2}" type="presParOf" srcId="{3E83CDD4-4113-490D-BFC8-A05C1E5873DE}" destId="{2C93BA6F-1362-4EF3-A6D5-D1E8A5023048}" srcOrd="9" destOrd="0" presId="urn:microsoft.com/office/officeart/2005/8/layout/equation2"/>
    <dgm:cxn modelId="{238585A0-51E7-4920-A3A7-266B878F1FBF}" type="presParOf" srcId="{3E83CDD4-4113-490D-BFC8-A05C1E5873DE}" destId="{6777155F-AE06-4BCE-8015-35F7A5D626C5}" srcOrd="10" destOrd="0" presId="urn:microsoft.com/office/officeart/2005/8/layout/equation2"/>
    <dgm:cxn modelId="{A9E4B8BC-29F2-4ED4-BE59-BF8900BD2281}" type="presParOf" srcId="{3E83CDD4-4113-490D-BFC8-A05C1E5873DE}" destId="{6D4457B5-E58C-4502-8148-0A2760194EB5}" srcOrd="11" destOrd="0" presId="urn:microsoft.com/office/officeart/2005/8/layout/equation2"/>
    <dgm:cxn modelId="{E08C3A7E-BDCF-49C8-A9A0-4E18C0D0B7ED}" type="presParOf" srcId="{3E83CDD4-4113-490D-BFC8-A05C1E5873DE}" destId="{53B13091-C5FC-4920-BBA8-FD08DF808C9D}" srcOrd="12" destOrd="0" presId="urn:microsoft.com/office/officeart/2005/8/layout/equation2"/>
    <dgm:cxn modelId="{7BD2E398-E2F9-4EDB-B203-BA07D5AA94D3}" type="presParOf" srcId="{AFEC8A12-F688-4486-BE8B-3721291E3A30}" destId="{80B65523-A025-4E03-8040-FB78673119AD}" srcOrd="1" destOrd="0" presId="urn:microsoft.com/office/officeart/2005/8/layout/equation2"/>
    <dgm:cxn modelId="{B997475D-254B-46D5-8102-ABBDB7F0EC5F}" type="presParOf" srcId="{80B65523-A025-4E03-8040-FB78673119AD}" destId="{76F34E9D-F7AF-4719-8118-83923130ADB6}" srcOrd="0" destOrd="0" presId="urn:microsoft.com/office/officeart/2005/8/layout/equation2"/>
    <dgm:cxn modelId="{FE24068B-9166-48D4-83EA-D16275153894}" type="presParOf" srcId="{AFEC8A12-F688-4486-BE8B-3721291E3A30}" destId="{A7A0C30E-4402-407F-8DAF-8157E7A25914}" srcOrd="2" destOrd="0" presId="urn:microsoft.com/office/officeart/2005/8/layout/equati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60F9EE-3C92-4779-9821-0CB544BD9E8F}">
      <dsp:nvSpPr>
        <dsp:cNvPr id="0" name=""/>
        <dsp:cNvSpPr/>
      </dsp:nvSpPr>
      <dsp:spPr>
        <a:xfrm>
          <a:off x="3558505" y="-255533"/>
          <a:ext cx="1833058" cy="1833058"/>
        </a:xfrm>
        <a:prstGeom prst="ellipse">
          <a:avLst/>
        </a:prstGeom>
        <a:solidFill>
          <a:srgbClr val="00FF00"/>
        </a:soli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s-ES" sz="2000" b="1" kern="1200" spc="-60" baseline="0" dirty="0">
              <a:solidFill>
                <a:schemeClr val="tx1">
                  <a:lumMod val="65000"/>
                  <a:lumOff val="35000"/>
                </a:schemeClr>
              </a:solidFill>
              <a:latin typeface="Calibri" panose="020F0502020204030204" pitchFamily="34" charset="0"/>
            </a:rPr>
            <a:t>Comprender el Negocio</a:t>
          </a:r>
        </a:p>
      </dsp:txBody>
      <dsp:txXfrm>
        <a:off x="3826950" y="12912"/>
        <a:ext cx="1296168" cy="1296168"/>
      </dsp:txXfrm>
    </dsp:sp>
    <dsp:sp modelId="{5A01EFBB-1D26-4BF8-BEBA-6A2C93AE6A63}">
      <dsp:nvSpPr>
        <dsp:cNvPr id="0" name=""/>
        <dsp:cNvSpPr/>
      </dsp:nvSpPr>
      <dsp:spPr>
        <a:xfrm rot="1797767">
          <a:off x="5285675" y="921622"/>
          <a:ext cx="56715" cy="446084"/>
        </a:xfrm>
        <a:prstGeom prst="rightArrow">
          <a:avLst>
            <a:gd name="adj1" fmla="val 60000"/>
            <a:gd name="adj2" fmla="val 50000"/>
          </a:avLst>
        </a:prstGeom>
        <a:gradFill rotWithShape="0">
          <a:gsLst>
            <a:gs pos="0">
              <a:schemeClr val="accent4">
                <a:hueOff val="0"/>
                <a:satOff val="0"/>
                <a:lumOff val="0"/>
                <a:alphaOff val="0"/>
                <a:shade val="85000"/>
                <a:satMod val="130000"/>
              </a:schemeClr>
            </a:gs>
            <a:gs pos="34000">
              <a:schemeClr val="accent4">
                <a:hueOff val="0"/>
                <a:satOff val="0"/>
                <a:lumOff val="0"/>
                <a:alphaOff val="0"/>
                <a:shade val="87000"/>
                <a:satMod val="125000"/>
              </a:schemeClr>
            </a:gs>
            <a:gs pos="70000">
              <a:schemeClr val="accent4">
                <a:hueOff val="0"/>
                <a:satOff val="0"/>
                <a:lumOff val="0"/>
                <a:alphaOff val="0"/>
                <a:tint val="100000"/>
                <a:shade val="90000"/>
                <a:satMod val="130000"/>
              </a:schemeClr>
            </a:gs>
            <a:gs pos="100000">
              <a:schemeClr val="accent4">
                <a:hueOff val="0"/>
                <a:satOff val="0"/>
                <a:lumOff val="0"/>
                <a:alphaOff val="0"/>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s-ES" sz="1900" kern="1200"/>
        </a:p>
      </dsp:txBody>
      <dsp:txXfrm>
        <a:off x="5286812" y="1006590"/>
        <a:ext cx="39701" cy="267650"/>
      </dsp:txXfrm>
    </dsp:sp>
    <dsp:sp modelId="{0317D606-82CF-4B56-8D91-EFE7DEE82273}">
      <dsp:nvSpPr>
        <dsp:cNvPr id="0" name=""/>
        <dsp:cNvSpPr/>
      </dsp:nvSpPr>
      <dsp:spPr>
        <a:xfrm>
          <a:off x="5214358" y="738133"/>
          <a:ext cx="1968642" cy="1833032"/>
        </a:xfrm>
        <a:prstGeom prst="ellipse">
          <a:avLst/>
        </a:prstGeom>
        <a:solidFill>
          <a:srgbClr val="00B0F0"/>
        </a:soli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s-ES" sz="2000" b="1" kern="1200" spc="-40" baseline="0" dirty="0">
              <a:solidFill>
                <a:schemeClr val="tx1">
                  <a:lumMod val="65000"/>
                  <a:lumOff val="35000"/>
                </a:schemeClr>
              </a:solidFill>
              <a:latin typeface="Calibri" panose="020F0502020204030204" pitchFamily="34" charset="0"/>
            </a:rPr>
            <a:t>Comprender</a:t>
          </a:r>
          <a:r>
            <a:rPr lang="es-ES" sz="1900" b="1" kern="1200" spc="-40" baseline="0" dirty="0">
              <a:solidFill>
                <a:schemeClr val="tx1">
                  <a:lumMod val="65000"/>
                  <a:lumOff val="35000"/>
                </a:schemeClr>
              </a:solidFill>
              <a:latin typeface="Calibri" panose="020F0502020204030204" pitchFamily="34" charset="0"/>
            </a:rPr>
            <a:t> </a:t>
          </a:r>
          <a:r>
            <a:rPr lang="es-ES" sz="2000" b="1" kern="1200" spc="-40" baseline="0" dirty="0">
              <a:solidFill>
                <a:schemeClr val="tx1">
                  <a:lumMod val="65000"/>
                  <a:lumOff val="35000"/>
                </a:schemeClr>
              </a:solidFill>
              <a:latin typeface="Calibri" panose="020F0502020204030204" pitchFamily="34" charset="0"/>
            </a:rPr>
            <a:t>los datos</a:t>
          </a:r>
          <a:endParaRPr lang="es-ES" sz="1900" b="1" kern="1200" spc="-40" baseline="0" dirty="0">
            <a:solidFill>
              <a:schemeClr val="tx1">
                <a:lumMod val="65000"/>
                <a:lumOff val="35000"/>
              </a:schemeClr>
            </a:solidFill>
            <a:latin typeface="Calibri" panose="020F0502020204030204" pitchFamily="34" charset="0"/>
          </a:endParaRPr>
        </a:p>
      </dsp:txBody>
      <dsp:txXfrm>
        <a:off x="5502659" y="1006574"/>
        <a:ext cx="1392040" cy="1296150"/>
      </dsp:txXfrm>
    </dsp:sp>
    <dsp:sp modelId="{0B7079B3-B9D0-4493-928A-24ED58D102CF}">
      <dsp:nvSpPr>
        <dsp:cNvPr id="0" name=""/>
        <dsp:cNvSpPr/>
      </dsp:nvSpPr>
      <dsp:spPr>
        <a:xfrm rot="5400000">
          <a:off x="6157799" y="2422940"/>
          <a:ext cx="81759" cy="446084"/>
        </a:xfrm>
        <a:prstGeom prst="rightArrow">
          <a:avLst>
            <a:gd name="adj1" fmla="val 60000"/>
            <a:gd name="adj2" fmla="val 50000"/>
          </a:avLst>
        </a:prstGeom>
        <a:gradFill rotWithShape="0">
          <a:gsLst>
            <a:gs pos="0">
              <a:schemeClr val="accent4">
                <a:hueOff val="188664"/>
                <a:satOff val="1401"/>
                <a:lumOff val="3137"/>
                <a:alphaOff val="0"/>
                <a:shade val="85000"/>
                <a:satMod val="130000"/>
              </a:schemeClr>
            </a:gs>
            <a:gs pos="34000">
              <a:schemeClr val="accent4">
                <a:hueOff val="188664"/>
                <a:satOff val="1401"/>
                <a:lumOff val="3137"/>
                <a:alphaOff val="0"/>
                <a:shade val="87000"/>
                <a:satMod val="125000"/>
              </a:schemeClr>
            </a:gs>
            <a:gs pos="70000">
              <a:schemeClr val="accent4">
                <a:hueOff val="188664"/>
                <a:satOff val="1401"/>
                <a:lumOff val="3137"/>
                <a:alphaOff val="0"/>
                <a:tint val="100000"/>
                <a:shade val="90000"/>
                <a:satMod val="130000"/>
              </a:schemeClr>
            </a:gs>
            <a:gs pos="100000">
              <a:schemeClr val="accent4">
                <a:hueOff val="188664"/>
                <a:satOff val="1401"/>
                <a:lumOff val="3137"/>
                <a:alphaOff val="0"/>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s-ES" sz="1900" kern="1200"/>
        </a:p>
      </dsp:txBody>
      <dsp:txXfrm>
        <a:off x="6170063" y="2499893"/>
        <a:ext cx="57231" cy="267650"/>
      </dsp:txXfrm>
    </dsp:sp>
    <dsp:sp modelId="{3B60C7BB-D61F-47FA-B602-D9C0C1C7D5F9}">
      <dsp:nvSpPr>
        <dsp:cNvPr id="0" name=""/>
        <dsp:cNvSpPr/>
      </dsp:nvSpPr>
      <dsp:spPr>
        <a:xfrm>
          <a:off x="5282149" y="2725428"/>
          <a:ext cx="1833058" cy="1833058"/>
        </a:xfrm>
        <a:prstGeom prst="ellipse">
          <a:avLst/>
        </a:prstGeom>
        <a:solidFill>
          <a:srgbClr val="33CC33"/>
        </a:soli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s-ES" sz="2000" b="1" kern="1200" dirty="0">
              <a:solidFill>
                <a:schemeClr val="tx1">
                  <a:lumMod val="65000"/>
                  <a:lumOff val="35000"/>
                </a:schemeClr>
              </a:solidFill>
              <a:latin typeface="Calibri" panose="020F0502020204030204" pitchFamily="34" charset="0"/>
            </a:rPr>
            <a:t>Preparar los datos</a:t>
          </a:r>
          <a:endParaRPr lang="es-ES" sz="2000" kern="1200" dirty="0">
            <a:solidFill>
              <a:schemeClr val="tx1">
                <a:lumMod val="65000"/>
                <a:lumOff val="35000"/>
              </a:schemeClr>
            </a:solidFill>
            <a:latin typeface="Calibri" panose="020F0502020204030204" pitchFamily="34" charset="0"/>
          </a:endParaRPr>
        </a:p>
      </dsp:txBody>
      <dsp:txXfrm>
        <a:off x="5550594" y="2993873"/>
        <a:ext cx="1296168" cy="1296168"/>
      </dsp:txXfrm>
    </dsp:sp>
    <dsp:sp modelId="{E78E6F97-0B61-4C5E-8130-0EDA5606F211}">
      <dsp:nvSpPr>
        <dsp:cNvPr id="0" name=""/>
        <dsp:cNvSpPr/>
      </dsp:nvSpPr>
      <dsp:spPr>
        <a:xfrm rot="9000000">
          <a:off x="5299277" y="3914586"/>
          <a:ext cx="81752" cy="446084"/>
        </a:xfrm>
        <a:prstGeom prst="rightArrow">
          <a:avLst>
            <a:gd name="adj1" fmla="val 60000"/>
            <a:gd name="adj2" fmla="val 50000"/>
          </a:avLst>
        </a:prstGeom>
        <a:gradFill rotWithShape="0">
          <a:gsLst>
            <a:gs pos="0">
              <a:schemeClr val="accent4">
                <a:hueOff val="377328"/>
                <a:satOff val="2803"/>
                <a:lumOff val="6274"/>
                <a:alphaOff val="0"/>
                <a:shade val="85000"/>
                <a:satMod val="130000"/>
              </a:schemeClr>
            </a:gs>
            <a:gs pos="34000">
              <a:schemeClr val="accent4">
                <a:hueOff val="377328"/>
                <a:satOff val="2803"/>
                <a:lumOff val="6274"/>
                <a:alphaOff val="0"/>
                <a:shade val="87000"/>
                <a:satMod val="125000"/>
              </a:schemeClr>
            </a:gs>
            <a:gs pos="70000">
              <a:schemeClr val="accent4">
                <a:hueOff val="377328"/>
                <a:satOff val="2803"/>
                <a:lumOff val="6274"/>
                <a:alphaOff val="0"/>
                <a:tint val="100000"/>
                <a:shade val="90000"/>
                <a:satMod val="130000"/>
              </a:schemeClr>
            </a:gs>
            <a:gs pos="100000">
              <a:schemeClr val="accent4">
                <a:hueOff val="377328"/>
                <a:satOff val="2803"/>
                <a:lumOff val="6274"/>
                <a:alphaOff val="0"/>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s-ES" sz="1900" kern="1200"/>
        </a:p>
      </dsp:txBody>
      <dsp:txXfrm rot="10800000">
        <a:off x="5322160" y="3997672"/>
        <a:ext cx="57226" cy="267650"/>
      </dsp:txXfrm>
    </dsp:sp>
    <dsp:sp modelId="{FA42DDF2-F411-4E70-9E98-BCB75795F7C8}">
      <dsp:nvSpPr>
        <dsp:cNvPr id="0" name=""/>
        <dsp:cNvSpPr/>
      </dsp:nvSpPr>
      <dsp:spPr>
        <a:xfrm>
          <a:off x="3561090" y="3719083"/>
          <a:ext cx="1833058" cy="1833058"/>
        </a:xfrm>
        <a:prstGeom prst="ellipse">
          <a:avLst/>
        </a:prstGeom>
        <a:solidFill>
          <a:srgbClr val="9966FF"/>
        </a:soli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s-ES" sz="2000" b="1" kern="1200" dirty="0">
              <a:solidFill>
                <a:schemeClr val="tx1">
                  <a:lumMod val="65000"/>
                  <a:lumOff val="35000"/>
                </a:schemeClr>
              </a:solidFill>
              <a:latin typeface="Calibri" panose="020F0502020204030204" pitchFamily="34" charset="0"/>
              <a:ea typeface="+mn-ea"/>
              <a:cs typeface="+mn-cs"/>
            </a:rPr>
            <a:t>Modelar</a:t>
          </a:r>
          <a:endParaRPr lang="es-ES" sz="1800" b="1" kern="1200" dirty="0">
            <a:solidFill>
              <a:schemeClr val="tx1">
                <a:lumMod val="65000"/>
                <a:lumOff val="35000"/>
              </a:schemeClr>
            </a:solidFill>
            <a:latin typeface="Calibri" panose="020F0502020204030204" pitchFamily="34" charset="0"/>
            <a:ea typeface="+mn-ea"/>
            <a:cs typeface="+mn-cs"/>
          </a:endParaRPr>
        </a:p>
      </dsp:txBody>
      <dsp:txXfrm>
        <a:off x="3829535" y="3987528"/>
        <a:ext cx="1296168" cy="1296168"/>
      </dsp:txXfrm>
    </dsp:sp>
    <dsp:sp modelId="{BA9907A3-A298-4961-A0B9-D8EAF7F9F086}">
      <dsp:nvSpPr>
        <dsp:cNvPr id="0" name=""/>
        <dsp:cNvSpPr/>
      </dsp:nvSpPr>
      <dsp:spPr>
        <a:xfrm rot="12600000">
          <a:off x="3578217" y="3916899"/>
          <a:ext cx="81752" cy="446084"/>
        </a:xfrm>
        <a:prstGeom prst="rightArrow">
          <a:avLst>
            <a:gd name="adj1" fmla="val 60000"/>
            <a:gd name="adj2" fmla="val 50000"/>
          </a:avLst>
        </a:prstGeom>
        <a:gradFill rotWithShape="0">
          <a:gsLst>
            <a:gs pos="0">
              <a:schemeClr val="accent4">
                <a:hueOff val="565993"/>
                <a:satOff val="4204"/>
                <a:lumOff val="9412"/>
                <a:alphaOff val="0"/>
                <a:shade val="85000"/>
                <a:satMod val="130000"/>
              </a:schemeClr>
            </a:gs>
            <a:gs pos="34000">
              <a:schemeClr val="accent4">
                <a:hueOff val="565993"/>
                <a:satOff val="4204"/>
                <a:lumOff val="9412"/>
                <a:alphaOff val="0"/>
                <a:shade val="87000"/>
                <a:satMod val="125000"/>
              </a:schemeClr>
            </a:gs>
            <a:gs pos="70000">
              <a:schemeClr val="accent4">
                <a:hueOff val="565993"/>
                <a:satOff val="4204"/>
                <a:lumOff val="9412"/>
                <a:alphaOff val="0"/>
                <a:tint val="100000"/>
                <a:shade val="90000"/>
                <a:satMod val="130000"/>
              </a:schemeClr>
            </a:gs>
            <a:gs pos="100000">
              <a:schemeClr val="accent4">
                <a:hueOff val="565993"/>
                <a:satOff val="4204"/>
                <a:lumOff val="9412"/>
                <a:alphaOff val="0"/>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s-ES" sz="1900" kern="1200"/>
        </a:p>
      </dsp:txBody>
      <dsp:txXfrm rot="10800000">
        <a:off x="3601100" y="4012248"/>
        <a:ext cx="57226" cy="267650"/>
      </dsp:txXfrm>
    </dsp:sp>
    <dsp:sp modelId="{4D757EF9-D4AE-4696-9F29-DF9B3359CACB}">
      <dsp:nvSpPr>
        <dsp:cNvPr id="0" name=""/>
        <dsp:cNvSpPr/>
      </dsp:nvSpPr>
      <dsp:spPr>
        <a:xfrm>
          <a:off x="1840030" y="2725428"/>
          <a:ext cx="1833058" cy="1833058"/>
        </a:xfrm>
        <a:prstGeom prst="ellipse">
          <a:avLst/>
        </a:prstGeom>
        <a:solidFill>
          <a:srgbClr val="FFFF00"/>
        </a:soli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s-ES" sz="2000" b="1" kern="1200" dirty="0">
              <a:solidFill>
                <a:schemeClr val="tx1">
                  <a:lumMod val="65000"/>
                  <a:lumOff val="35000"/>
                </a:schemeClr>
              </a:solidFill>
              <a:latin typeface="Calibri" panose="020F0502020204030204" pitchFamily="34" charset="0"/>
            </a:rPr>
            <a:t>Evaluar</a:t>
          </a:r>
          <a:endParaRPr lang="es-ES" sz="1800" b="1" kern="1200" dirty="0">
            <a:solidFill>
              <a:schemeClr val="tx1">
                <a:lumMod val="65000"/>
                <a:lumOff val="35000"/>
              </a:schemeClr>
            </a:solidFill>
            <a:latin typeface="Calibri" panose="020F0502020204030204" pitchFamily="34" charset="0"/>
          </a:endParaRPr>
        </a:p>
      </dsp:txBody>
      <dsp:txXfrm>
        <a:off x="2108475" y="2993873"/>
        <a:ext cx="1296168" cy="1296168"/>
      </dsp:txXfrm>
    </dsp:sp>
    <dsp:sp modelId="{86DDCD6C-323C-4386-9277-E810E6C4DAC2}">
      <dsp:nvSpPr>
        <dsp:cNvPr id="0" name=""/>
        <dsp:cNvSpPr/>
      </dsp:nvSpPr>
      <dsp:spPr>
        <a:xfrm rot="16200000">
          <a:off x="2715683" y="2427575"/>
          <a:ext cx="81752" cy="446084"/>
        </a:xfrm>
        <a:prstGeom prst="rightArrow">
          <a:avLst>
            <a:gd name="adj1" fmla="val 60000"/>
            <a:gd name="adj2" fmla="val 50000"/>
          </a:avLst>
        </a:prstGeom>
        <a:gradFill rotWithShape="0">
          <a:gsLst>
            <a:gs pos="0">
              <a:schemeClr val="accent4">
                <a:hueOff val="754657"/>
                <a:satOff val="5606"/>
                <a:lumOff val="12549"/>
                <a:alphaOff val="0"/>
                <a:shade val="85000"/>
                <a:satMod val="130000"/>
              </a:schemeClr>
            </a:gs>
            <a:gs pos="34000">
              <a:schemeClr val="accent4">
                <a:hueOff val="754657"/>
                <a:satOff val="5606"/>
                <a:lumOff val="12549"/>
                <a:alphaOff val="0"/>
                <a:shade val="87000"/>
                <a:satMod val="125000"/>
              </a:schemeClr>
            </a:gs>
            <a:gs pos="70000">
              <a:schemeClr val="accent4">
                <a:hueOff val="754657"/>
                <a:satOff val="5606"/>
                <a:lumOff val="12549"/>
                <a:alphaOff val="0"/>
                <a:tint val="100000"/>
                <a:shade val="90000"/>
                <a:satMod val="130000"/>
              </a:schemeClr>
            </a:gs>
            <a:gs pos="100000">
              <a:schemeClr val="accent4">
                <a:hueOff val="754657"/>
                <a:satOff val="5606"/>
                <a:lumOff val="12549"/>
                <a:alphaOff val="0"/>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s-ES" sz="1900" kern="1200"/>
        </a:p>
      </dsp:txBody>
      <dsp:txXfrm>
        <a:off x="2727946" y="2529055"/>
        <a:ext cx="57226" cy="267650"/>
      </dsp:txXfrm>
    </dsp:sp>
    <dsp:sp modelId="{54A84956-A131-4D09-BDCC-10DED1A8D6EB}">
      <dsp:nvSpPr>
        <dsp:cNvPr id="0" name=""/>
        <dsp:cNvSpPr/>
      </dsp:nvSpPr>
      <dsp:spPr>
        <a:xfrm>
          <a:off x="1840030" y="738120"/>
          <a:ext cx="1833058" cy="1833058"/>
        </a:xfrm>
        <a:prstGeom prst="ellipse">
          <a:avLst/>
        </a:prstGeom>
        <a:solidFill>
          <a:srgbClr val="00FFFF"/>
        </a:soli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s-ES" sz="2000" b="1" kern="1200" dirty="0">
              <a:solidFill>
                <a:schemeClr val="tx1">
                  <a:lumMod val="65000"/>
                  <a:lumOff val="35000"/>
                </a:schemeClr>
              </a:solidFill>
              <a:latin typeface="Calibri" panose="020F0502020204030204" pitchFamily="34" charset="0"/>
            </a:rPr>
            <a:t>Desplegar</a:t>
          </a:r>
          <a:endParaRPr lang="es-ES" sz="1800" b="1" kern="1200" dirty="0">
            <a:solidFill>
              <a:schemeClr val="tx1">
                <a:lumMod val="65000"/>
                <a:lumOff val="35000"/>
              </a:schemeClr>
            </a:solidFill>
            <a:latin typeface="Calibri" panose="020F0502020204030204" pitchFamily="34" charset="0"/>
          </a:endParaRPr>
        </a:p>
      </dsp:txBody>
      <dsp:txXfrm>
        <a:off x="2108475" y="1006565"/>
        <a:ext cx="1296168" cy="1296168"/>
      </dsp:txXfrm>
    </dsp:sp>
    <dsp:sp modelId="{FB2A6565-880D-4CAA-A8F7-243143B2B6D2}">
      <dsp:nvSpPr>
        <dsp:cNvPr id="0" name=""/>
        <dsp:cNvSpPr/>
      </dsp:nvSpPr>
      <dsp:spPr>
        <a:xfrm rot="19797762">
          <a:off x="3573540" y="935921"/>
          <a:ext cx="80566" cy="446084"/>
        </a:xfrm>
        <a:prstGeom prst="rightArrow">
          <a:avLst>
            <a:gd name="adj1" fmla="val 60000"/>
            <a:gd name="adj2" fmla="val 50000"/>
          </a:avLst>
        </a:prstGeom>
        <a:gradFill rotWithShape="0">
          <a:gsLst>
            <a:gs pos="0">
              <a:schemeClr val="accent4">
                <a:hueOff val="943321"/>
                <a:satOff val="7007"/>
                <a:lumOff val="15686"/>
                <a:alphaOff val="0"/>
                <a:shade val="85000"/>
                <a:satMod val="130000"/>
              </a:schemeClr>
            </a:gs>
            <a:gs pos="34000">
              <a:schemeClr val="accent4">
                <a:hueOff val="943321"/>
                <a:satOff val="7007"/>
                <a:lumOff val="15686"/>
                <a:alphaOff val="0"/>
                <a:shade val="87000"/>
                <a:satMod val="125000"/>
              </a:schemeClr>
            </a:gs>
            <a:gs pos="70000">
              <a:schemeClr val="accent4">
                <a:hueOff val="943321"/>
                <a:satOff val="7007"/>
                <a:lumOff val="15686"/>
                <a:alphaOff val="0"/>
                <a:tint val="100000"/>
                <a:shade val="90000"/>
                <a:satMod val="130000"/>
              </a:schemeClr>
            </a:gs>
            <a:gs pos="100000">
              <a:schemeClr val="accent4">
                <a:hueOff val="943321"/>
                <a:satOff val="7007"/>
                <a:lumOff val="15686"/>
                <a:alphaOff val="0"/>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s-ES" sz="1900" kern="1200"/>
        </a:p>
      </dsp:txBody>
      <dsp:txXfrm>
        <a:off x="3575163" y="1031187"/>
        <a:ext cx="56396" cy="2676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7DB379-08B3-402F-8827-F367749E6B34}">
      <dsp:nvSpPr>
        <dsp:cNvPr id="0" name=""/>
        <dsp:cNvSpPr/>
      </dsp:nvSpPr>
      <dsp:spPr>
        <a:xfrm>
          <a:off x="2063175" y="1263"/>
          <a:ext cx="1825689" cy="795739"/>
        </a:xfrm>
        <a:prstGeom prst="ellipse">
          <a:avLst/>
        </a:prstGeom>
        <a:solidFill>
          <a:srgbClr val="92D050">
            <a:hueOff val="0"/>
            <a:satOff val="0"/>
            <a:lumOff val="0"/>
            <a:alphaOff val="0"/>
          </a:srgbClr>
        </a:solidFill>
        <a:ln w="25400" cap="flat" cmpd="sng" algn="ctr">
          <a:solidFill>
            <a:srgbClr val="2F2F2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buNone/>
          </a:pPr>
          <a:r>
            <a:rPr lang="es-CO" sz="1400" kern="1200" dirty="0">
              <a:solidFill>
                <a:srgbClr val="FFFFFF"/>
              </a:solidFill>
              <a:latin typeface="Trebuchet MS"/>
              <a:ea typeface="+mn-ea"/>
              <a:cs typeface="+mn-cs"/>
            </a:rPr>
            <a:t>Conocimiento de Negocio</a:t>
          </a:r>
        </a:p>
      </dsp:txBody>
      <dsp:txXfrm>
        <a:off x="2330541" y="117796"/>
        <a:ext cx="1290957" cy="562673"/>
      </dsp:txXfrm>
    </dsp:sp>
    <dsp:sp modelId="{71529444-52D0-4A69-8F99-E9D2939EFB37}">
      <dsp:nvSpPr>
        <dsp:cNvPr id="0" name=""/>
        <dsp:cNvSpPr/>
      </dsp:nvSpPr>
      <dsp:spPr>
        <a:xfrm>
          <a:off x="2745256" y="861617"/>
          <a:ext cx="461529" cy="461529"/>
        </a:xfrm>
        <a:prstGeom prst="mathPlus">
          <a:avLst/>
        </a:prstGeom>
        <a:solidFill>
          <a:srgbClr val="92D05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buNone/>
          </a:pPr>
          <a:endParaRPr lang="es-CO" sz="1400" kern="1200">
            <a:solidFill>
              <a:srgbClr val="2F2F2F"/>
            </a:solidFill>
            <a:latin typeface="Trebuchet MS"/>
            <a:ea typeface="+mn-ea"/>
            <a:cs typeface="+mn-cs"/>
          </a:endParaRPr>
        </a:p>
      </dsp:txBody>
      <dsp:txXfrm>
        <a:off x="2806432" y="1038106"/>
        <a:ext cx="339177" cy="108551"/>
      </dsp:txXfrm>
    </dsp:sp>
    <dsp:sp modelId="{64CD7D79-B61E-43D3-93C0-1BF7FB57F99B}">
      <dsp:nvSpPr>
        <dsp:cNvPr id="0" name=""/>
        <dsp:cNvSpPr/>
      </dsp:nvSpPr>
      <dsp:spPr>
        <a:xfrm>
          <a:off x="2056049" y="1387760"/>
          <a:ext cx="1839941" cy="795739"/>
        </a:xfrm>
        <a:prstGeom prst="ellipse">
          <a:avLst/>
        </a:prstGeom>
        <a:solidFill>
          <a:srgbClr val="9BBB59">
            <a:hueOff val="0"/>
            <a:satOff val="0"/>
            <a:lumOff val="0"/>
            <a:alphaOff val="0"/>
          </a:srgbClr>
        </a:solidFill>
        <a:ln w="25400" cap="flat" cmpd="sng" algn="ctr">
          <a:solidFill>
            <a:srgbClr val="2F2F2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buNone/>
          </a:pPr>
          <a:r>
            <a:rPr lang="es-CO" sz="1400" kern="1200" dirty="0">
              <a:solidFill>
                <a:srgbClr val="FFFFFF"/>
              </a:solidFill>
              <a:latin typeface="Trebuchet MS"/>
              <a:ea typeface="+mn-ea"/>
              <a:cs typeface="+mn-cs"/>
            </a:rPr>
            <a:t>Modelamiento matemático y estadístico</a:t>
          </a:r>
        </a:p>
      </dsp:txBody>
      <dsp:txXfrm>
        <a:off x="2325502" y="1504293"/>
        <a:ext cx="1301035" cy="562673"/>
      </dsp:txXfrm>
    </dsp:sp>
    <dsp:sp modelId="{FB442174-5917-46C1-8B6A-39D7747DE57E}">
      <dsp:nvSpPr>
        <dsp:cNvPr id="0" name=""/>
        <dsp:cNvSpPr/>
      </dsp:nvSpPr>
      <dsp:spPr>
        <a:xfrm>
          <a:off x="2745256" y="2248114"/>
          <a:ext cx="461529" cy="461529"/>
        </a:xfrm>
        <a:prstGeom prst="mathPlus">
          <a:avLst/>
        </a:prstGeom>
        <a:solidFill>
          <a:srgbClr val="9BBB59">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buNone/>
          </a:pPr>
          <a:endParaRPr lang="es-CO" sz="1400" kern="1200">
            <a:solidFill>
              <a:srgbClr val="2F2F2F"/>
            </a:solidFill>
            <a:latin typeface="Trebuchet MS"/>
            <a:ea typeface="+mn-ea"/>
            <a:cs typeface="+mn-cs"/>
          </a:endParaRPr>
        </a:p>
      </dsp:txBody>
      <dsp:txXfrm>
        <a:off x="2806432" y="2424603"/>
        <a:ext cx="339177" cy="108551"/>
      </dsp:txXfrm>
    </dsp:sp>
    <dsp:sp modelId="{76B6BE3C-5272-4069-91F5-BA9981DAFFF0}">
      <dsp:nvSpPr>
        <dsp:cNvPr id="0" name=""/>
        <dsp:cNvSpPr/>
      </dsp:nvSpPr>
      <dsp:spPr>
        <a:xfrm>
          <a:off x="2063175" y="2774258"/>
          <a:ext cx="1825689" cy="795739"/>
        </a:xfrm>
        <a:prstGeom prst="ellipse">
          <a:avLst/>
        </a:prstGeom>
        <a:solidFill>
          <a:srgbClr val="007934">
            <a:hueOff val="0"/>
            <a:satOff val="0"/>
            <a:lumOff val="0"/>
            <a:alphaOff val="0"/>
          </a:srgbClr>
        </a:solidFill>
        <a:ln w="25400" cap="flat" cmpd="sng" algn="ctr">
          <a:solidFill>
            <a:srgbClr val="2F2F2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buNone/>
          </a:pPr>
          <a:r>
            <a:rPr lang="es-CO" sz="1400" kern="1200" dirty="0">
              <a:solidFill>
                <a:srgbClr val="FFFFFF"/>
              </a:solidFill>
              <a:latin typeface="Trebuchet MS"/>
              <a:ea typeface="+mn-ea"/>
              <a:cs typeface="+mn-cs"/>
            </a:rPr>
            <a:t>Plataforma de Análisis Predictivo</a:t>
          </a:r>
        </a:p>
      </dsp:txBody>
      <dsp:txXfrm>
        <a:off x="2330541" y="2890791"/>
        <a:ext cx="1290957" cy="562673"/>
      </dsp:txXfrm>
    </dsp:sp>
    <dsp:sp modelId="{6777155F-AE06-4BCE-8015-35F7A5D626C5}">
      <dsp:nvSpPr>
        <dsp:cNvPr id="0" name=""/>
        <dsp:cNvSpPr/>
      </dsp:nvSpPr>
      <dsp:spPr>
        <a:xfrm>
          <a:off x="2745256" y="3634612"/>
          <a:ext cx="461529" cy="461529"/>
        </a:xfrm>
        <a:prstGeom prst="mathPlus">
          <a:avLst/>
        </a:prstGeom>
        <a:solidFill>
          <a:srgbClr val="007934">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buNone/>
          </a:pPr>
          <a:endParaRPr lang="es-CO" sz="800" kern="1200">
            <a:solidFill>
              <a:srgbClr val="2F2F2F"/>
            </a:solidFill>
            <a:latin typeface="Trebuchet MS"/>
            <a:ea typeface="+mn-ea"/>
            <a:cs typeface="+mn-cs"/>
          </a:endParaRPr>
        </a:p>
      </dsp:txBody>
      <dsp:txXfrm>
        <a:off x="2806432" y="3811101"/>
        <a:ext cx="339177" cy="108551"/>
      </dsp:txXfrm>
    </dsp:sp>
    <dsp:sp modelId="{53B13091-C5FC-4920-BBA8-FD08DF808C9D}">
      <dsp:nvSpPr>
        <dsp:cNvPr id="0" name=""/>
        <dsp:cNvSpPr/>
      </dsp:nvSpPr>
      <dsp:spPr>
        <a:xfrm>
          <a:off x="2049437" y="4160755"/>
          <a:ext cx="1853166" cy="795739"/>
        </a:xfrm>
        <a:prstGeom prst="ellipse">
          <a:avLst/>
        </a:prstGeom>
        <a:solidFill>
          <a:srgbClr val="64E032">
            <a:hueOff val="0"/>
            <a:satOff val="0"/>
            <a:lumOff val="0"/>
            <a:alphaOff val="0"/>
          </a:srgbClr>
        </a:solidFill>
        <a:ln w="25400" cap="flat" cmpd="sng" algn="ctr">
          <a:solidFill>
            <a:srgbClr val="2F2F2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buNone/>
          </a:pPr>
          <a:r>
            <a:rPr lang="es-CO" sz="1400" kern="1200" dirty="0">
              <a:solidFill>
                <a:srgbClr val="FFFFFF"/>
              </a:solidFill>
              <a:latin typeface="Trebuchet MS"/>
              <a:ea typeface="+mn-ea"/>
              <a:cs typeface="+mn-cs"/>
            </a:rPr>
            <a:t>Herramienta de Visualización de datos</a:t>
          </a:r>
        </a:p>
      </dsp:txBody>
      <dsp:txXfrm>
        <a:off x="2320827" y="4277288"/>
        <a:ext cx="1310386" cy="562673"/>
      </dsp:txXfrm>
    </dsp:sp>
    <dsp:sp modelId="{80B65523-A025-4E03-8040-FB78673119AD}">
      <dsp:nvSpPr>
        <dsp:cNvPr id="0" name=""/>
        <dsp:cNvSpPr/>
      </dsp:nvSpPr>
      <dsp:spPr>
        <a:xfrm>
          <a:off x="4225515" y="2330871"/>
          <a:ext cx="684571" cy="296015"/>
        </a:xfrm>
        <a:prstGeom prst="rightArrow">
          <a:avLst>
            <a:gd name="adj1" fmla="val 60000"/>
            <a:gd name="adj2" fmla="val 50000"/>
          </a:avLst>
        </a:prstGeom>
        <a:solidFill>
          <a:srgbClr val="64E032">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77850">
            <a:lnSpc>
              <a:spcPct val="90000"/>
            </a:lnSpc>
            <a:spcBef>
              <a:spcPct val="0"/>
            </a:spcBef>
            <a:spcAft>
              <a:spcPct val="35000"/>
            </a:spcAft>
            <a:buNone/>
          </a:pPr>
          <a:endParaRPr lang="es-CO" sz="1300" kern="1200">
            <a:solidFill>
              <a:srgbClr val="2F2F2F"/>
            </a:solidFill>
            <a:latin typeface="Trebuchet MS"/>
            <a:ea typeface="+mn-ea"/>
            <a:cs typeface="+mn-cs"/>
          </a:endParaRPr>
        </a:p>
      </dsp:txBody>
      <dsp:txXfrm>
        <a:off x="4225515" y="2390074"/>
        <a:ext cx="595767" cy="177609"/>
      </dsp:txXfrm>
    </dsp:sp>
    <dsp:sp modelId="{A7A0C30E-4402-407F-8DAF-8157E7A25914}">
      <dsp:nvSpPr>
        <dsp:cNvPr id="0" name=""/>
        <dsp:cNvSpPr/>
      </dsp:nvSpPr>
      <dsp:spPr>
        <a:xfrm>
          <a:off x="5194249" y="1683139"/>
          <a:ext cx="1906449" cy="1591479"/>
        </a:xfrm>
        <a:prstGeom prst="ellipse">
          <a:avLst/>
        </a:prstGeom>
        <a:solidFill>
          <a:srgbClr val="5DBF0C"/>
        </a:solidFill>
        <a:ln w="25400" cap="flat" cmpd="sng" algn="ctr">
          <a:solidFill>
            <a:srgbClr val="2F2F2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buNone/>
          </a:pPr>
          <a:r>
            <a:rPr lang="es-CO" sz="2000" b="1" kern="1200" dirty="0">
              <a:solidFill>
                <a:schemeClr val="bg1"/>
              </a:solidFill>
              <a:latin typeface="Trebuchet MS"/>
              <a:ea typeface="+mn-ea"/>
              <a:cs typeface="+mn-cs"/>
            </a:rPr>
            <a:t>Sistema de Analítica Predictiva</a:t>
          </a:r>
        </a:p>
      </dsp:txBody>
      <dsp:txXfrm>
        <a:off x="5473442" y="1916206"/>
        <a:ext cx="1348063" cy="1125345"/>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O"/>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A97FACF-9151-413D-973E-90D1EC943379}" type="datetimeFigureOut">
              <a:rPr lang="es-CO" smtClean="0"/>
              <a:t>18/07/2024</a:t>
            </a:fld>
            <a:endParaRPr lang="es-CO"/>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O"/>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O"/>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705D989-A34E-49C9-800F-7A0EDF49A7B3}" type="slidenum">
              <a:rPr lang="es-CO" smtClean="0"/>
              <a:t>‹Nº›</a:t>
            </a:fld>
            <a:endParaRPr lang="es-CO"/>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s3.amazonaws.com/assets.datacamp.com/blog_assets/Data-Science-Periodic-Table.pdf"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s3.amazonaws.com/assets.datacamp.com/blog_assets/Data-Science-Periodic-Table.pdf"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s3.amazonaws.com/assets.datacamp.com/blog_assets/Data-Science-Periodic-Table.pdf"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s3.amazonaws.com/assets.datacamp.com/blog_assets/Data-Science-Periodic-Table.pdf"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s3.amazonaws.com/assets.datacamp.com/blog_assets/Data-Science-Periodic-Table.pdf"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s3.amazonaws.com/assets.datacamp.com/blog_assets/Data-Science-Periodic-Table.pdf"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s3.amazonaws.com/assets.datacamp.com/blog_assets/Data-Science-Periodic-Table.pdf"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381000" y="685800"/>
            <a:ext cx="6096000" cy="3429000"/>
          </a:xfrm>
        </p:spPr>
      </p:sp>
      <p:sp>
        <p:nvSpPr>
          <p:cNvPr id="3" name="2 Marcador de notas"/>
          <p:cNvSpPr>
            <a:spLocks noGrp="1"/>
          </p:cNvSpPr>
          <p:nvPr>
            <p:ph type="body" idx="1"/>
          </p:nvPr>
        </p:nvSpPr>
        <p:spPr/>
        <p:txBody>
          <a:bodyPr/>
          <a:lstStyle/>
          <a:p>
            <a:endParaRPr lang="es-CO"/>
          </a:p>
        </p:txBody>
      </p:sp>
      <p:sp>
        <p:nvSpPr>
          <p:cNvPr id="4" name="3 Marcador de número de diapositiva"/>
          <p:cNvSpPr>
            <a:spLocks noGrp="1"/>
          </p:cNvSpPr>
          <p:nvPr>
            <p:ph type="sldNum" sz="quarter" idx="10"/>
          </p:nvPr>
        </p:nvSpPr>
        <p:spPr/>
        <p:txBody>
          <a:bodyPr/>
          <a:lstStyle/>
          <a:p>
            <a:fld id="{7ED52D87-CCCB-4897-8754-39643E4DFE54}" type="slidenum">
              <a:rPr lang="es-MX" smtClean="0"/>
              <a:pPr/>
              <a:t>1</a:t>
            </a:fld>
            <a:endParaRPr lang="es-MX" dirty="0"/>
          </a:p>
        </p:txBody>
      </p:sp>
    </p:spTree>
    <p:extLst>
      <p:ext uri="{BB962C8B-B14F-4D97-AF65-F5344CB8AC3E}">
        <p14:creationId xmlns:p14="http://schemas.microsoft.com/office/powerpoint/2010/main" val="34883402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O" sz="1200" dirty="0">
                <a:solidFill>
                  <a:srgbClr val="5F5F5F"/>
                </a:solidFill>
              </a:rPr>
              <a:t>Refer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O" sz="1200" dirty="0">
              <a:solidFill>
                <a:srgbClr val="5F5F5F"/>
              </a:solidFil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Minería de datos (</a:t>
            </a:r>
            <a:r>
              <a:rPr lang="es-419" sz="1200" b="0" i="0" u="none" strike="noStrike" kern="1200" baseline="0" dirty="0" err="1">
                <a:solidFill>
                  <a:schemeClr val="tx1"/>
                </a:solidFill>
                <a:latin typeface="+mn-lt"/>
                <a:ea typeface="+mn-ea"/>
                <a:cs typeface="+mn-cs"/>
              </a:rPr>
              <a:t>Witten</a:t>
            </a:r>
            <a:r>
              <a:rPr lang="es-419" sz="1200" b="0" i="0" u="none" strike="noStrike" kern="1200" baseline="0" dirty="0">
                <a:solidFill>
                  <a:schemeClr val="tx1"/>
                </a:solidFill>
                <a:latin typeface="+mn-lt"/>
                <a:ea typeface="+mn-ea"/>
                <a:cs typeface="+mn-cs"/>
              </a:rPr>
              <a:t>, Frank, Hall y Pal, 2017, p. 6)</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Aprendizaje de máquina (Mitchell, 1997, p. 1)</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Ciencia de datos (</a:t>
            </a:r>
            <a:r>
              <a:rPr lang="es-419" sz="1200" b="0" i="0" u="none" strike="noStrike" kern="1200" baseline="0" dirty="0" err="1">
                <a:solidFill>
                  <a:schemeClr val="tx1"/>
                </a:solidFill>
                <a:latin typeface="+mn-lt"/>
                <a:ea typeface="+mn-ea"/>
                <a:cs typeface="+mn-cs"/>
              </a:rPr>
              <a:t>Gollapudi</a:t>
            </a:r>
            <a:r>
              <a:rPr lang="es-419" sz="1200" b="0" i="0" u="none" strike="noStrike" kern="1200" baseline="0" dirty="0">
                <a:solidFill>
                  <a:schemeClr val="tx1"/>
                </a:solidFill>
                <a:latin typeface="+mn-lt"/>
                <a:ea typeface="+mn-ea"/>
                <a:cs typeface="+mn-cs"/>
              </a:rPr>
              <a:t>, 2016, pp. 30-3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419"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419" sz="1200" b="0" i="0" u="none" strike="noStrike" kern="1200" baseline="0" dirty="0">
                <a:solidFill>
                  <a:schemeClr val="tx1"/>
                </a:solidFill>
                <a:latin typeface="+mn-lt"/>
                <a:ea typeface="+mn-ea"/>
                <a:cs typeface="+mn-cs"/>
              </a:rPr>
              <a:t>La Ciencia de datos puede definirse como la transformación de datos usando matemáticas y estadística en decisiones y productos de valor para los negocios (</a:t>
            </a:r>
            <a:r>
              <a:rPr lang="es-419" sz="1200" b="0" i="0" u="none" strike="noStrike" kern="1200" baseline="0" dirty="0" err="1">
                <a:solidFill>
                  <a:schemeClr val="tx1"/>
                </a:solidFill>
                <a:latin typeface="+mn-lt"/>
                <a:ea typeface="+mn-ea"/>
                <a:cs typeface="+mn-cs"/>
              </a:rPr>
              <a:t>Foreman</a:t>
            </a:r>
            <a:r>
              <a:rPr lang="es-419" sz="1200" b="0" i="0" u="none" strike="noStrike" kern="1200" baseline="0" dirty="0">
                <a:solidFill>
                  <a:schemeClr val="tx1"/>
                </a:solidFill>
                <a:latin typeface="+mn-lt"/>
                <a:ea typeface="+mn-ea"/>
                <a:cs typeface="+mn-cs"/>
              </a:rPr>
              <a:t>, 2013)</a:t>
            </a:r>
          </a:p>
        </p:txBody>
      </p:sp>
      <p:sp>
        <p:nvSpPr>
          <p:cNvPr id="4" name="Marcador de número de diapositiva 3"/>
          <p:cNvSpPr>
            <a:spLocks noGrp="1"/>
          </p:cNvSpPr>
          <p:nvPr>
            <p:ph type="sldNum" sz="quarter" idx="10"/>
          </p:nvPr>
        </p:nvSpPr>
        <p:spPr/>
        <p:txBody>
          <a:bodyPr/>
          <a:lstStyle/>
          <a:p>
            <a:fld id="{F705D989-A34E-49C9-800F-7A0EDF49A7B3}" type="slidenum">
              <a:rPr lang="es-CO" smtClean="0"/>
              <a:t>10</a:t>
            </a:fld>
            <a:endParaRPr lang="es-CO"/>
          </a:p>
        </p:txBody>
      </p:sp>
    </p:spTree>
    <p:extLst>
      <p:ext uri="{BB962C8B-B14F-4D97-AF65-F5344CB8AC3E}">
        <p14:creationId xmlns:p14="http://schemas.microsoft.com/office/powerpoint/2010/main" val="27731509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O" sz="1200" dirty="0">
                <a:solidFill>
                  <a:srgbClr val="5F5F5F"/>
                </a:solidFill>
              </a:rPr>
              <a:t>Refer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O" sz="1200" dirty="0">
              <a:solidFill>
                <a:srgbClr val="5F5F5F"/>
              </a:solidFil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Minería de datos (</a:t>
            </a:r>
            <a:r>
              <a:rPr lang="es-419" sz="1200" b="0" i="0" u="none" strike="noStrike" kern="1200" baseline="0" dirty="0" err="1">
                <a:solidFill>
                  <a:schemeClr val="tx1"/>
                </a:solidFill>
                <a:latin typeface="+mn-lt"/>
                <a:ea typeface="+mn-ea"/>
                <a:cs typeface="+mn-cs"/>
              </a:rPr>
              <a:t>Witten</a:t>
            </a:r>
            <a:r>
              <a:rPr lang="es-419" sz="1200" b="0" i="0" u="none" strike="noStrike" kern="1200" baseline="0" dirty="0">
                <a:solidFill>
                  <a:schemeClr val="tx1"/>
                </a:solidFill>
                <a:latin typeface="+mn-lt"/>
                <a:ea typeface="+mn-ea"/>
                <a:cs typeface="+mn-cs"/>
              </a:rPr>
              <a:t>, Frank, Hall y Pal, 2017, p. 6)</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Aprendizaje de máquina (Mitchell, 1997, p. 1)</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Ciencia de datos (</a:t>
            </a:r>
            <a:r>
              <a:rPr lang="es-419" sz="1200" b="0" i="0" u="none" strike="noStrike" kern="1200" baseline="0" dirty="0" err="1">
                <a:solidFill>
                  <a:schemeClr val="tx1"/>
                </a:solidFill>
                <a:latin typeface="+mn-lt"/>
                <a:ea typeface="+mn-ea"/>
                <a:cs typeface="+mn-cs"/>
              </a:rPr>
              <a:t>Gollapudi</a:t>
            </a:r>
            <a:r>
              <a:rPr lang="es-419" sz="1200" b="0" i="0" u="none" strike="noStrike" kern="1200" baseline="0" dirty="0">
                <a:solidFill>
                  <a:schemeClr val="tx1"/>
                </a:solidFill>
                <a:latin typeface="+mn-lt"/>
                <a:ea typeface="+mn-ea"/>
                <a:cs typeface="+mn-cs"/>
              </a:rPr>
              <a:t>, 2016, pp. 30-3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419"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419" sz="1200" b="0" i="0" u="none" strike="noStrike" kern="1200" baseline="0" dirty="0">
                <a:solidFill>
                  <a:schemeClr val="tx1"/>
                </a:solidFill>
                <a:latin typeface="+mn-lt"/>
                <a:ea typeface="+mn-ea"/>
                <a:cs typeface="+mn-cs"/>
              </a:rPr>
              <a:t>La Ciencia de datos puede definirse como la transformación de datos usando matemáticas y estadística en decisiones y productos de valor para los negocios (</a:t>
            </a:r>
            <a:r>
              <a:rPr lang="es-419" sz="1200" b="0" i="0" u="none" strike="noStrike" kern="1200" baseline="0" dirty="0" err="1">
                <a:solidFill>
                  <a:schemeClr val="tx1"/>
                </a:solidFill>
                <a:latin typeface="+mn-lt"/>
                <a:ea typeface="+mn-ea"/>
                <a:cs typeface="+mn-cs"/>
              </a:rPr>
              <a:t>Foreman</a:t>
            </a:r>
            <a:r>
              <a:rPr lang="es-419" sz="1200" b="0" i="0" u="none" strike="noStrike" kern="1200" baseline="0" dirty="0">
                <a:solidFill>
                  <a:schemeClr val="tx1"/>
                </a:solidFill>
                <a:latin typeface="+mn-lt"/>
                <a:ea typeface="+mn-ea"/>
                <a:cs typeface="+mn-cs"/>
              </a:rPr>
              <a:t>, 2013)</a:t>
            </a:r>
          </a:p>
        </p:txBody>
      </p:sp>
      <p:sp>
        <p:nvSpPr>
          <p:cNvPr id="4" name="Marcador de número de diapositiva 3"/>
          <p:cNvSpPr>
            <a:spLocks noGrp="1"/>
          </p:cNvSpPr>
          <p:nvPr>
            <p:ph type="sldNum" sz="quarter" idx="10"/>
          </p:nvPr>
        </p:nvSpPr>
        <p:spPr/>
        <p:txBody>
          <a:bodyPr/>
          <a:lstStyle/>
          <a:p>
            <a:fld id="{F705D989-A34E-49C9-800F-7A0EDF49A7B3}" type="slidenum">
              <a:rPr lang="es-CO" smtClean="0"/>
              <a:t>11</a:t>
            </a:fld>
            <a:endParaRPr lang="es-CO"/>
          </a:p>
        </p:txBody>
      </p:sp>
    </p:spTree>
    <p:extLst>
      <p:ext uri="{BB962C8B-B14F-4D97-AF65-F5344CB8AC3E}">
        <p14:creationId xmlns:p14="http://schemas.microsoft.com/office/powerpoint/2010/main" val="3445092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O" sz="1200" dirty="0">
                <a:solidFill>
                  <a:srgbClr val="5F5F5F"/>
                </a:solidFill>
              </a:rPr>
              <a:t>Refer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O" sz="1200" dirty="0">
              <a:solidFill>
                <a:srgbClr val="5F5F5F"/>
              </a:solidFil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Minería de datos (</a:t>
            </a:r>
            <a:r>
              <a:rPr lang="es-419" sz="1200" b="0" i="0" u="none" strike="noStrike" kern="1200" baseline="0" dirty="0" err="1">
                <a:solidFill>
                  <a:schemeClr val="tx1"/>
                </a:solidFill>
                <a:latin typeface="+mn-lt"/>
                <a:ea typeface="+mn-ea"/>
                <a:cs typeface="+mn-cs"/>
              </a:rPr>
              <a:t>Witten</a:t>
            </a:r>
            <a:r>
              <a:rPr lang="es-419" sz="1200" b="0" i="0" u="none" strike="noStrike" kern="1200" baseline="0" dirty="0">
                <a:solidFill>
                  <a:schemeClr val="tx1"/>
                </a:solidFill>
                <a:latin typeface="+mn-lt"/>
                <a:ea typeface="+mn-ea"/>
                <a:cs typeface="+mn-cs"/>
              </a:rPr>
              <a:t>, Frank, Hall y Pal, 2017, p. 6)</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Aprendizaje de máquina (Mitchell, 1997, p. 1)</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Ciencia de datos (</a:t>
            </a:r>
            <a:r>
              <a:rPr lang="es-419" sz="1200" b="0" i="0" u="none" strike="noStrike" kern="1200" baseline="0" dirty="0" err="1">
                <a:solidFill>
                  <a:schemeClr val="tx1"/>
                </a:solidFill>
                <a:latin typeface="+mn-lt"/>
                <a:ea typeface="+mn-ea"/>
                <a:cs typeface="+mn-cs"/>
              </a:rPr>
              <a:t>Gollapudi</a:t>
            </a:r>
            <a:r>
              <a:rPr lang="es-419" sz="1200" b="0" i="0" u="none" strike="noStrike" kern="1200" baseline="0" dirty="0">
                <a:solidFill>
                  <a:schemeClr val="tx1"/>
                </a:solidFill>
                <a:latin typeface="+mn-lt"/>
                <a:ea typeface="+mn-ea"/>
                <a:cs typeface="+mn-cs"/>
              </a:rPr>
              <a:t>, 2016, pp. 30-3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419"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419" sz="1200" b="0" i="0" u="none" strike="noStrike" kern="1200" baseline="0" dirty="0">
                <a:solidFill>
                  <a:schemeClr val="tx1"/>
                </a:solidFill>
                <a:latin typeface="+mn-lt"/>
                <a:ea typeface="+mn-ea"/>
                <a:cs typeface="+mn-cs"/>
              </a:rPr>
              <a:t>La Ciencia de datos puede definirse como la transformación de datos usando matemáticas y estadística en decisiones y productos de valor para los negocios (</a:t>
            </a:r>
            <a:r>
              <a:rPr lang="es-419" sz="1200" b="0" i="0" u="none" strike="noStrike" kern="1200" baseline="0" dirty="0" err="1">
                <a:solidFill>
                  <a:schemeClr val="tx1"/>
                </a:solidFill>
                <a:latin typeface="+mn-lt"/>
                <a:ea typeface="+mn-ea"/>
                <a:cs typeface="+mn-cs"/>
              </a:rPr>
              <a:t>Foreman</a:t>
            </a:r>
            <a:r>
              <a:rPr lang="es-419" sz="1200" b="0" i="0" u="none" strike="noStrike" kern="1200" baseline="0" dirty="0">
                <a:solidFill>
                  <a:schemeClr val="tx1"/>
                </a:solidFill>
                <a:latin typeface="+mn-lt"/>
                <a:ea typeface="+mn-ea"/>
                <a:cs typeface="+mn-cs"/>
              </a:rPr>
              <a:t>, 2013)</a:t>
            </a:r>
          </a:p>
        </p:txBody>
      </p:sp>
      <p:sp>
        <p:nvSpPr>
          <p:cNvPr id="4" name="Marcador de número de diapositiva 3"/>
          <p:cNvSpPr>
            <a:spLocks noGrp="1"/>
          </p:cNvSpPr>
          <p:nvPr>
            <p:ph type="sldNum" sz="quarter" idx="10"/>
          </p:nvPr>
        </p:nvSpPr>
        <p:spPr/>
        <p:txBody>
          <a:bodyPr/>
          <a:lstStyle/>
          <a:p>
            <a:fld id="{F705D989-A34E-49C9-800F-7A0EDF49A7B3}" type="slidenum">
              <a:rPr lang="es-CO" smtClean="0"/>
              <a:t>12</a:t>
            </a:fld>
            <a:endParaRPr lang="es-CO"/>
          </a:p>
        </p:txBody>
      </p:sp>
    </p:spTree>
    <p:extLst>
      <p:ext uri="{BB962C8B-B14F-4D97-AF65-F5344CB8AC3E}">
        <p14:creationId xmlns:p14="http://schemas.microsoft.com/office/powerpoint/2010/main" val="3351701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O" sz="1200" dirty="0">
                <a:solidFill>
                  <a:srgbClr val="5F5F5F"/>
                </a:solidFill>
              </a:rPr>
              <a:t>Refer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O" sz="1200" dirty="0">
              <a:solidFill>
                <a:srgbClr val="5F5F5F"/>
              </a:solidFil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Minería de datos (</a:t>
            </a:r>
            <a:r>
              <a:rPr lang="es-419" sz="1200" b="0" i="0" u="none" strike="noStrike" kern="1200" baseline="0" dirty="0" err="1">
                <a:solidFill>
                  <a:schemeClr val="tx1"/>
                </a:solidFill>
                <a:latin typeface="+mn-lt"/>
                <a:ea typeface="+mn-ea"/>
                <a:cs typeface="+mn-cs"/>
              </a:rPr>
              <a:t>Witten</a:t>
            </a:r>
            <a:r>
              <a:rPr lang="es-419" sz="1200" b="0" i="0" u="none" strike="noStrike" kern="1200" baseline="0" dirty="0">
                <a:solidFill>
                  <a:schemeClr val="tx1"/>
                </a:solidFill>
                <a:latin typeface="+mn-lt"/>
                <a:ea typeface="+mn-ea"/>
                <a:cs typeface="+mn-cs"/>
              </a:rPr>
              <a:t>, Frank, Hall y Pal, 2017, p. 6)</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Aprendizaje de máquina (Mitchell, 1997, p. 1)</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Ciencia de datos (</a:t>
            </a:r>
            <a:r>
              <a:rPr lang="es-419" sz="1200" b="0" i="0" u="none" strike="noStrike" kern="1200" baseline="0" dirty="0" err="1">
                <a:solidFill>
                  <a:schemeClr val="tx1"/>
                </a:solidFill>
                <a:latin typeface="+mn-lt"/>
                <a:ea typeface="+mn-ea"/>
                <a:cs typeface="+mn-cs"/>
              </a:rPr>
              <a:t>Gollapudi</a:t>
            </a:r>
            <a:r>
              <a:rPr lang="es-419" sz="1200" b="0" i="0" u="none" strike="noStrike" kern="1200" baseline="0" dirty="0">
                <a:solidFill>
                  <a:schemeClr val="tx1"/>
                </a:solidFill>
                <a:latin typeface="+mn-lt"/>
                <a:ea typeface="+mn-ea"/>
                <a:cs typeface="+mn-cs"/>
              </a:rPr>
              <a:t>, 2016, pp. 30-3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419"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419" sz="1200" b="0" i="0" u="none" strike="noStrike" kern="1200" baseline="0" dirty="0">
                <a:solidFill>
                  <a:schemeClr val="tx1"/>
                </a:solidFill>
                <a:latin typeface="+mn-lt"/>
                <a:ea typeface="+mn-ea"/>
                <a:cs typeface="+mn-cs"/>
              </a:rPr>
              <a:t>La Ciencia de datos puede definirse como la transformación de datos usando matemáticas y estadística en decisiones y productos de valor para los negocios (</a:t>
            </a:r>
            <a:r>
              <a:rPr lang="es-419" sz="1200" b="0" i="0" u="none" strike="noStrike" kern="1200" baseline="0" dirty="0" err="1">
                <a:solidFill>
                  <a:schemeClr val="tx1"/>
                </a:solidFill>
                <a:latin typeface="+mn-lt"/>
                <a:ea typeface="+mn-ea"/>
                <a:cs typeface="+mn-cs"/>
              </a:rPr>
              <a:t>Foreman</a:t>
            </a:r>
            <a:r>
              <a:rPr lang="es-419" sz="1200" b="0" i="0" u="none" strike="noStrike" kern="1200" baseline="0" dirty="0">
                <a:solidFill>
                  <a:schemeClr val="tx1"/>
                </a:solidFill>
                <a:latin typeface="+mn-lt"/>
                <a:ea typeface="+mn-ea"/>
                <a:cs typeface="+mn-cs"/>
              </a:rPr>
              <a:t>, 2013)</a:t>
            </a:r>
          </a:p>
        </p:txBody>
      </p:sp>
      <p:sp>
        <p:nvSpPr>
          <p:cNvPr id="4" name="Marcador de número de diapositiva 3"/>
          <p:cNvSpPr>
            <a:spLocks noGrp="1"/>
          </p:cNvSpPr>
          <p:nvPr>
            <p:ph type="sldNum" sz="quarter" idx="10"/>
          </p:nvPr>
        </p:nvSpPr>
        <p:spPr/>
        <p:txBody>
          <a:bodyPr/>
          <a:lstStyle/>
          <a:p>
            <a:fld id="{F705D989-A34E-49C9-800F-7A0EDF49A7B3}" type="slidenum">
              <a:rPr lang="es-CO" smtClean="0"/>
              <a:t>13</a:t>
            </a:fld>
            <a:endParaRPr lang="es-CO"/>
          </a:p>
        </p:txBody>
      </p:sp>
    </p:spTree>
    <p:extLst>
      <p:ext uri="{BB962C8B-B14F-4D97-AF65-F5344CB8AC3E}">
        <p14:creationId xmlns:p14="http://schemas.microsoft.com/office/powerpoint/2010/main" val="16858094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O" sz="1200" b="1" i="1" kern="1200" dirty="0">
                <a:solidFill>
                  <a:schemeClr val="tx1"/>
                </a:solidFill>
                <a:effectLst/>
                <a:latin typeface="+mn-lt"/>
                <a:ea typeface="+mn-ea"/>
                <a:cs typeface="+mn-cs"/>
              </a:rPr>
              <a:t>Analítica Descriptiva (</a:t>
            </a:r>
            <a:r>
              <a:rPr lang="es-CO" sz="1200" b="1" i="1" kern="1200" dirty="0" err="1">
                <a:solidFill>
                  <a:schemeClr val="tx1"/>
                </a:solidFill>
                <a:effectLst/>
                <a:latin typeface="+mn-lt"/>
                <a:ea typeface="+mn-ea"/>
                <a:cs typeface="+mn-cs"/>
              </a:rPr>
              <a:t>Descriptive</a:t>
            </a:r>
            <a:r>
              <a:rPr lang="es-CO" sz="1200" b="1" i="1" kern="1200" dirty="0">
                <a:solidFill>
                  <a:schemeClr val="tx1"/>
                </a:solidFill>
                <a:effectLst/>
                <a:latin typeface="+mn-lt"/>
                <a:ea typeface="+mn-ea"/>
                <a:cs typeface="+mn-cs"/>
              </a:rPr>
              <a:t> </a:t>
            </a:r>
            <a:r>
              <a:rPr lang="es-CO" sz="1200" b="1" i="1" kern="1200" dirty="0" err="1">
                <a:solidFill>
                  <a:schemeClr val="tx1"/>
                </a:solidFill>
                <a:effectLst/>
                <a:latin typeface="+mn-lt"/>
                <a:ea typeface="+mn-ea"/>
                <a:cs typeface="+mn-cs"/>
              </a:rPr>
              <a:t>Analytic</a:t>
            </a:r>
            <a:r>
              <a:rPr lang="es-CO" sz="1200" b="1" i="1" kern="1200" dirty="0">
                <a:solidFill>
                  <a:schemeClr val="tx1"/>
                </a:solidFill>
                <a:effectLst/>
                <a:latin typeface="+mn-lt"/>
                <a:ea typeface="+mn-ea"/>
                <a:cs typeface="+mn-cs"/>
              </a:rPr>
              <a:t>)</a:t>
            </a:r>
            <a:r>
              <a:rPr lang="es-CO" sz="1200" kern="1200" dirty="0">
                <a:solidFill>
                  <a:schemeClr val="tx1"/>
                </a:solidFill>
                <a:effectLst/>
                <a:latin typeface="+mn-lt"/>
                <a:ea typeface="+mn-ea"/>
                <a:cs typeface="+mn-cs"/>
              </a:rPr>
              <a:t>: Orientadas a responder “qué pasó” o “qué está pasando en el momento” y cuál es la relación con lo que ha ocurrido u ocurrió históricamente.</a:t>
            </a:r>
          </a:p>
          <a:p>
            <a:r>
              <a:rPr lang="es-CO" sz="1200" kern="1200" dirty="0">
                <a:solidFill>
                  <a:schemeClr val="tx1"/>
                </a:solidFill>
                <a:effectLst/>
                <a:latin typeface="+mn-lt"/>
                <a:ea typeface="+mn-ea"/>
                <a:cs typeface="+mn-cs"/>
              </a:rPr>
              <a:t> </a:t>
            </a:r>
          </a:p>
          <a:p>
            <a:r>
              <a:rPr lang="es-CO" sz="1200" b="1" i="1" kern="1200" dirty="0">
                <a:solidFill>
                  <a:schemeClr val="tx1"/>
                </a:solidFill>
                <a:effectLst/>
                <a:latin typeface="+mn-lt"/>
                <a:ea typeface="+mn-ea"/>
                <a:cs typeface="+mn-cs"/>
              </a:rPr>
              <a:t>Analítica de Diagnóstico (</a:t>
            </a:r>
            <a:r>
              <a:rPr lang="es-CO" sz="1200" b="1" i="1" kern="1200" dirty="0" err="1">
                <a:solidFill>
                  <a:schemeClr val="tx1"/>
                </a:solidFill>
                <a:effectLst/>
                <a:latin typeface="+mn-lt"/>
                <a:ea typeface="+mn-ea"/>
                <a:cs typeface="+mn-cs"/>
              </a:rPr>
              <a:t>Diagnostic</a:t>
            </a:r>
            <a:r>
              <a:rPr lang="es-CO" sz="1200" b="1" i="1" kern="1200" dirty="0">
                <a:solidFill>
                  <a:schemeClr val="tx1"/>
                </a:solidFill>
                <a:effectLst/>
                <a:latin typeface="+mn-lt"/>
                <a:ea typeface="+mn-ea"/>
                <a:cs typeface="+mn-cs"/>
              </a:rPr>
              <a:t> </a:t>
            </a:r>
            <a:r>
              <a:rPr lang="es-CO" sz="1200" b="1" i="1" kern="1200" dirty="0" err="1">
                <a:solidFill>
                  <a:schemeClr val="tx1"/>
                </a:solidFill>
                <a:effectLst/>
                <a:latin typeface="+mn-lt"/>
                <a:ea typeface="+mn-ea"/>
                <a:cs typeface="+mn-cs"/>
              </a:rPr>
              <a:t>Analytic</a:t>
            </a:r>
            <a:r>
              <a:rPr lang="es-CO" sz="1200" b="1" i="1" kern="1200" dirty="0">
                <a:solidFill>
                  <a:schemeClr val="tx1"/>
                </a:solidFill>
                <a:effectLst/>
                <a:latin typeface="+mn-lt"/>
                <a:ea typeface="+mn-ea"/>
                <a:cs typeface="+mn-cs"/>
              </a:rPr>
              <a:t>):</a:t>
            </a:r>
            <a:r>
              <a:rPr lang="es-CO" sz="1200" kern="1200" dirty="0">
                <a:solidFill>
                  <a:schemeClr val="tx1"/>
                </a:solidFill>
                <a:effectLst/>
                <a:latin typeface="+mn-lt"/>
                <a:ea typeface="+mn-ea"/>
                <a:cs typeface="+mn-cs"/>
              </a:rPr>
              <a:t> Orientadas a responder por qué pasaron las cosas, es decir, a entender cuáles fueron las causas de un determinado resultado. </a:t>
            </a:r>
          </a:p>
          <a:p>
            <a:endParaRPr lang="es-CO" sz="1200" b="1" i="1" kern="1200" dirty="0">
              <a:solidFill>
                <a:schemeClr val="tx1"/>
              </a:solidFill>
              <a:effectLst/>
              <a:latin typeface="+mn-lt"/>
              <a:ea typeface="+mn-ea"/>
              <a:cs typeface="+mn-cs"/>
            </a:endParaRPr>
          </a:p>
          <a:p>
            <a:r>
              <a:rPr lang="es-CO" sz="1200" b="1" i="1" kern="1200" dirty="0">
                <a:solidFill>
                  <a:schemeClr val="tx1"/>
                </a:solidFill>
                <a:effectLst/>
                <a:latin typeface="+mn-lt"/>
                <a:ea typeface="+mn-ea"/>
                <a:cs typeface="+mn-cs"/>
              </a:rPr>
              <a:t>Analítica Predictiva (</a:t>
            </a:r>
            <a:r>
              <a:rPr lang="es-CO" sz="1200" b="1" i="1" kern="1200" dirty="0" err="1">
                <a:solidFill>
                  <a:schemeClr val="tx1"/>
                </a:solidFill>
                <a:effectLst/>
                <a:latin typeface="+mn-lt"/>
                <a:ea typeface="+mn-ea"/>
                <a:cs typeface="+mn-cs"/>
              </a:rPr>
              <a:t>Predictive</a:t>
            </a:r>
            <a:r>
              <a:rPr lang="es-CO" sz="1200" b="1" i="1" kern="1200" dirty="0">
                <a:solidFill>
                  <a:schemeClr val="tx1"/>
                </a:solidFill>
                <a:effectLst/>
                <a:latin typeface="+mn-lt"/>
                <a:ea typeface="+mn-ea"/>
                <a:cs typeface="+mn-cs"/>
              </a:rPr>
              <a:t> </a:t>
            </a:r>
            <a:r>
              <a:rPr lang="es-CO" sz="1200" b="1" i="1" kern="1200" dirty="0" err="1">
                <a:solidFill>
                  <a:schemeClr val="tx1"/>
                </a:solidFill>
                <a:effectLst/>
                <a:latin typeface="+mn-lt"/>
                <a:ea typeface="+mn-ea"/>
                <a:cs typeface="+mn-cs"/>
              </a:rPr>
              <a:t>analytic</a:t>
            </a:r>
            <a:r>
              <a:rPr lang="es-CO" sz="1200" b="1" i="1" kern="1200" dirty="0">
                <a:solidFill>
                  <a:schemeClr val="tx1"/>
                </a:solidFill>
                <a:effectLst/>
                <a:latin typeface="+mn-lt"/>
                <a:ea typeface="+mn-ea"/>
                <a:cs typeface="+mn-cs"/>
              </a:rPr>
              <a:t>):</a:t>
            </a:r>
            <a:r>
              <a:rPr lang="es-CO" sz="1200" kern="1200" dirty="0">
                <a:solidFill>
                  <a:schemeClr val="tx1"/>
                </a:solidFill>
                <a:effectLst/>
                <a:latin typeface="+mn-lt"/>
                <a:ea typeface="+mn-ea"/>
                <a:cs typeface="+mn-cs"/>
              </a:rPr>
              <a:t>  Orientado a responder preguntas del tipo  "¿Qué va a pasar?" y "¿Qué es probable que suceda?", para lo cual predice los valores de una o más variables de respuesta con base en valores de un conjunto de datos de entrada. Los modelos de predicción utilizan datos históricos con respuestas conocidas para desarrollar (o estimación) de un modelo que se puede usar para predecir los valores para nuevos datos. </a:t>
            </a:r>
          </a:p>
          <a:p>
            <a:r>
              <a:rPr lang="es-CO" sz="1200" kern="1200" dirty="0">
                <a:solidFill>
                  <a:schemeClr val="tx1"/>
                </a:solidFill>
                <a:effectLst/>
                <a:latin typeface="+mn-lt"/>
                <a:ea typeface="+mn-ea"/>
                <a:cs typeface="+mn-cs"/>
              </a:rPr>
              <a:t> </a:t>
            </a:r>
          </a:p>
          <a:p>
            <a:r>
              <a:rPr lang="es-ES" sz="1200" b="1" i="1" kern="1200" dirty="0">
                <a:solidFill>
                  <a:schemeClr val="tx1"/>
                </a:solidFill>
                <a:effectLst/>
                <a:latin typeface="+mn-lt"/>
                <a:ea typeface="+mn-ea"/>
                <a:cs typeface="+mn-cs"/>
              </a:rPr>
              <a:t>Analítica Prescriptiva (</a:t>
            </a:r>
            <a:r>
              <a:rPr lang="es-ES" sz="1200" b="1" i="1" kern="1200" dirty="0" err="1">
                <a:solidFill>
                  <a:schemeClr val="tx1"/>
                </a:solidFill>
                <a:effectLst/>
                <a:latin typeface="+mn-lt"/>
                <a:ea typeface="+mn-ea"/>
                <a:cs typeface="+mn-cs"/>
              </a:rPr>
              <a:t>Prescriptive</a:t>
            </a:r>
            <a:r>
              <a:rPr lang="es-ES" sz="1200" b="1" i="1" kern="1200" dirty="0">
                <a:solidFill>
                  <a:schemeClr val="tx1"/>
                </a:solidFill>
                <a:effectLst/>
                <a:latin typeface="+mn-lt"/>
                <a:ea typeface="+mn-ea"/>
                <a:cs typeface="+mn-cs"/>
              </a:rPr>
              <a:t> </a:t>
            </a:r>
            <a:r>
              <a:rPr lang="es-ES" sz="1200" b="1" i="1" kern="1200" dirty="0" err="1">
                <a:solidFill>
                  <a:schemeClr val="tx1"/>
                </a:solidFill>
                <a:effectLst/>
                <a:latin typeface="+mn-lt"/>
                <a:ea typeface="+mn-ea"/>
                <a:cs typeface="+mn-cs"/>
              </a:rPr>
              <a:t>analytic</a:t>
            </a:r>
            <a:r>
              <a:rPr lang="es-ES" sz="1200" b="1" i="1" kern="1200" dirty="0">
                <a:solidFill>
                  <a:schemeClr val="tx1"/>
                </a:solidFill>
                <a:effectLst/>
                <a:latin typeface="+mn-lt"/>
                <a:ea typeface="+mn-ea"/>
                <a:cs typeface="+mn-cs"/>
              </a:rPr>
              <a:t>):</a:t>
            </a:r>
            <a:r>
              <a:rPr lang="es-ES" sz="1200" kern="1200" dirty="0">
                <a:solidFill>
                  <a:schemeClr val="tx1"/>
                </a:solidFill>
                <a:effectLst/>
                <a:latin typeface="+mn-lt"/>
                <a:ea typeface="+mn-ea"/>
                <a:cs typeface="+mn-cs"/>
              </a:rPr>
              <a:t> </a:t>
            </a:r>
            <a:r>
              <a:rPr lang="es-CO" sz="1200" kern="1200" dirty="0">
                <a:solidFill>
                  <a:schemeClr val="tx1"/>
                </a:solidFill>
                <a:effectLst/>
                <a:latin typeface="+mn-lt"/>
                <a:ea typeface="+mn-ea"/>
                <a:cs typeface="+mn-cs"/>
              </a:rPr>
              <a:t>Este tipo de análisis está orientado a responder preguntas de negocios, tales como "¿Cuál es la acción recomendada?"; por lo general está asociada a la analítica predictiva, en el sentido en que esta predice qué va a pasar, mientras que la analítica prescriptiva va un paso más allá y dice cuándo va a pasar y por qué va a pasar y adicional a ellos, indica qué debería hacer con las cosas que van a pasar y puede tomar esa misma respuesta y realimentar el ciclo de análisis.</a:t>
            </a:r>
          </a:p>
        </p:txBody>
      </p:sp>
      <p:sp>
        <p:nvSpPr>
          <p:cNvPr id="4" name="Marcador de número de diapositiva 3"/>
          <p:cNvSpPr>
            <a:spLocks noGrp="1"/>
          </p:cNvSpPr>
          <p:nvPr>
            <p:ph type="sldNum" sz="quarter" idx="10"/>
          </p:nvPr>
        </p:nvSpPr>
        <p:spPr/>
        <p:txBody>
          <a:bodyPr/>
          <a:lstStyle/>
          <a:p>
            <a:fld id="{4FF6D30E-2BBC-43DE-9532-0F50F6E79F7B}" type="slidenum">
              <a:rPr lang="es-CO" smtClean="0"/>
              <a:t>14</a:t>
            </a:fld>
            <a:endParaRPr lang="es-CO"/>
          </a:p>
        </p:txBody>
      </p:sp>
    </p:spTree>
    <p:extLst>
      <p:ext uri="{BB962C8B-B14F-4D97-AF65-F5344CB8AC3E}">
        <p14:creationId xmlns:p14="http://schemas.microsoft.com/office/powerpoint/2010/main" val="21705681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sz="12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10"/>
          </p:nvPr>
        </p:nvSpPr>
        <p:spPr/>
        <p:txBody>
          <a:bodyPr/>
          <a:lstStyle/>
          <a:p>
            <a:fld id="{4FF6D30E-2BBC-43DE-9532-0F50F6E79F7B}" type="slidenum">
              <a:rPr lang="es-CO" smtClean="0"/>
              <a:t>15</a:t>
            </a:fld>
            <a:endParaRPr lang="es-CO"/>
          </a:p>
        </p:txBody>
      </p:sp>
    </p:spTree>
    <p:extLst>
      <p:ext uri="{BB962C8B-B14F-4D97-AF65-F5344CB8AC3E}">
        <p14:creationId xmlns:p14="http://schemas.microsoft.com/office/powerpoint/2010/main" val="22689635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sz="12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10"/>
          </p:nvPr>
        </p:nvSpPr>
        <p:spPr/>
        <p:txBody>
          <a:bodyPr/>
          <a:lstStyle/>
          <a:p>
            <a:fld id="{4FF6D30E-2BBC-43DE-9532-0F50F6E79F7B}" type="slidenum">
              <a:rPr lang="es-CO" smtClean="0"/>
              <a:t>16</a:t>
            </a:fld>
            <a:endParaRPr lang="es-CO"/>
          </a:p>
        </p:txBody>
      </p:sp>
    </p:spTree>
    <p:extLst>
      <p:ext uri="{BB962C8B-B14F-4D97-AF65-F5344CB8AC3E}">
        <p14:creationId xmlns:p14="http://schemas.microsoft.com/office/powerpoint/2010/main" val="20987122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sz="12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10"/>
          </p:nvPr>
        </p:nvSpPr>
        <p:spPr/>
        <p:txBody>
          <a:bodyPr/>
          <a:lstStyle/>
          <a:p>
            <a:fld id="{4FF6D30E-2BBC-43DE-9532-0F50F6E79F7B}" type="slidenum">
              <a:rPr lang="es-CO" smtClean="0"/>
              <a:t>17</a:t>
            </a:fld>
            <a:endParaRPr lang="es-CO"/>
          </a:p>
        </p:txBody>
      </p:sp>
    </p:spTree>
    <p:extLst>
      <p:ext uri="{BB962C8B-B14F-4D97-AF65-F5344CB8AC3E}">
        <p14:creationId xmlns:p14="http://schemas.microsoft.com/office/powerpoint/2010/main" val="9346461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sz="12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10"/>
          </p:nvPr>
        </p:nvSpPr>
        <p:spPr/>
        <p:txBody>
          <a:bodyPr/>
          <a:lstStyle/>
          <a:p>
            <a:fld id="{4FF6D30E-2BBC-43DE-9532-0F50F6E79F7B}" type="slidenum">
              <a:rPr lang="es-CO" smtClean="0"/>
              <a:t>18</a:t>
            </a:fld>
            <a:endParaRPr lang="es-CO"/>
          </a:p>
        </p:txBody>
      </p:sp>
    </p:spTree>
    <p:extLst>
      <p:ext uri="{BB962C8B-B14F-4D97-AF65-F5344CB8AC3E}">
        <p14:creationId xmlns:p14="http://schemas.microsoft.com/office/powerpoint/2010/main" val="27482376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sz="12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10"/>
          </p:nvPr>
        </p:nvSpPr>
        <p:spPr/>
        <p:txBody>
          <a:bodyPr/>
          <a:lstStyle/>
          <a:p>
            <a:fld id="{4FF6D30E-2BBC-43DE-9532-0F50F6E79F7B}" type="slidenum">
              <a:rPr lang="es-CO" smtClean="0"/>
              <a:t>19</a:t>
            </a:fld>
            <a:endParaRPr lang="es-CO"/>
          </a:p>
        </p:txBody>
      </p:sp>
    </p:spTree>
    <p:extLst>
      <p:ext uri="{BB962C8B-B14F-4D97-AF65-F5344CB8AC3E}">
        <p14:creationId xmlns:p14="http://schemas.microsoft.com/office/powerpoint/2010/main" val="15116585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705D989-A34E-49C9-800F-7A0EDF49A7B3}" type="slidenum">
              <a:rPr kumimoji="0" lang="es-CO"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s-CO"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6004021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705D989-A34E-49C9-800F-7A0EDF49A7B3}" type="slidenum">
              <a:rPr kumimoji="0" lang="es-CO"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s-CO"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537919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10"/>
          </p:nvPr>
        </p:nvSpPr>
        <p:spPr/>
        <p:txBody>
          <a:bodyPr/>
          <a:lstStyle/>
          <a:p>
            <a:fld id="{F705D989-A34E-49C9-800F-7A0EDF49A7B3}" type="slidenum">
              <a:rPr lang="es-CO" smtClean="0"/>
              <a:t>26</a:t>
            </a:fld>
            <a:endParaRPr lang="es-CO"/>
          </a:p>
        </p:txBody>
      </p:sp>
    </p:spTree>
    <p:extLst>
      <p:ext uri="{BB962C8B-B14F-4D97-AF65-F5344CB8AC3E}">
        <p14:creationId xmlns:p14="http://schemas.microsoft.com/office/powerpoint/2010/main" val="38366084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dirty="0">
                <a:solidFill>
                  <a:srgbClr val="5F5F5F"/>
                </a:solidFill>
                <a:sym typeface="Calibri"/>
              </a:rPr>
              <a:t>Fuente</a:t>
            </a:r>
            <a:r>
              <a:rPr lang="es-CO" dirty="0">
                <a:solidFill>
                  <a:srgbClr val="666666"/>
                </a:solidFill>
                <a:ea typeface="Calibri"/>
                <a:cs typeface="Calibri"/>
                <a:sym typeface="Calibri"/>
              </a:rPr>
              <a:t>: </a:t>
            </a:r>
            <a:r>
              <a:rPr lang="es-CO" dirty="0">
                <a:solidFill>
                  <a:srgbClr val="666666"/>
                </a:solidFill>
                <a:ea typeface="Calibri"/>
                <a:cs typeface="Calibri"/>
                <a:sym typeface="Calibri"/>
                <a:hlinkClick r:id="rId3"/>
              </a:rPr>
              <a:t>https://s3.amazonaws.com/assets.datacamp.com/blog_assets/Data-Science-Periodic-Table.pdf</a:t>
            </a:r>
            <a:endParaRPr lang="es-CO" dirty="0">
              <a:solidFill>
                <a:srgbClr val="666666"/>
              </a:solidFill>
              <a:ea typeface="Calibri"/>
              <a:cs typeface="Calibri"/>
              <a:sym typeface="Calibri"/>
            </a:endParaRPr>
          </a:p>
          <a:p>
            <a:endParaRPr lang="es-CO" dirty="0"/>
          </a:p>
        </p:txBody>
      </p:sp>
      <p:sp>
        <p:nvSpPr>
          <p:cNvPr id="4" name="Marcador de número de diapositiva 3"/>
          <p:cNvSpPr>
            <a:spLocks noGrp="1"/>
          </p:cNvSpPr>
          <p:nvPr>
            <p:ph type="sldNum" sz="quarter" idx="10"/>
          </p:nvPr>
        </p:nvSpPr>
        <p:spPr/>
        <p:txBody>
          <a:bodyPr/>
          <a:lstStyle/>
          <a:p>
            <a:fld id="{F705D989-A34E-49C9-800F-7A0EDF49A7B3}" type="slidenum">
              <a:rPr lang="es-CO" smtClean="0"/>
              <a:t>27</a:t>
            </a:fld>
            <a:endParaRPr lang="es-CO"/>
          </a:p>
        </p:txBody>
      </p:sp>
    </p:spTree>
    <p:extLst>
      <p:ext uri="{BB962C8B-B14F-4D97-AF65-F5344CB8AC3E}">
        <p14:creationId xmlns:p14="http://schemas.microsoft.com/office/powerpoint/2010/main" val="20828432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dirty="0">
                <a:solidFill>
                  <a:srgbClr val="5F5F5F"/>
                </a:solidFill>
                <a:sym typeface="Calibri"/>
              </a:rPr>
              <a:t>Fuente</a:t>
            </a:r>
            <a:r>
              <a:rPr lang="es-CO" dirty="0">
                <a:solidFill>
                  <a:srgbClr val="666666"/>
                </a:solidFill>
                <a:ea typeface="Calibri"/>
                <a:cs typeface="Calibri"/>
                <a:sym typeface="Calibri"/>
              </a:rPr>
              <a:t>: </a:t>
            </a:r>
            <a:r>
              <a:rPr lang="es-CO" dirty="0">
                <a:solidFill>
                  <a:srgbClr val="666666"/>
                </a:solidFill>
                <a:ea typeface="Calibri"/>
                <a:cs typeface="Calibri"/>
                <a:sym typeface="Calibri"/>
                <a:hlinkClick r:id="rId3"/>
              </a:rPr>
              <a:t>https://s3.amazonaws.com/assets.datacamp.com/blog_assets/Data-Science-Periodic-Table.pdf</a:t>
            </a:r>
            <a:endParaRPr lang="es-CO" dirty="0">
              <a:solidFill>
                <a:srgbClr val="666666"/>
              </a:solidFill>
              <a:ea typeface="Calibri"/>
              <a:cs typeface="Calibri"/>
              <a:sym typeface="Calibri"/>
            </a:endParaRPr>
          </a:p>
          <a:p>
            <a:endParaRPr lang="es-CO" dirty="0"/>
          </a:p>
        </p:txBody>
      </p:sp>
      <p:sp>
        <p:nvSpPr>
          <p:cNvPr id="4" name="Marcador de número de diapositiva 3"/>
          <p:cNvSpPr>
            <a:spLocks noGrp="1"/>
          </p:cNvSpPr>
          <p:nvPr>
            <p:ph type="sldNum" sz="quarter" idx="10"/>
          </p:nvPr>
        </p:nvSpPr>
        <p:spPr/>
        <p:txBody>
          <a:bodyPr/>
          <a:lstStyle/>
          <a:p>
            <a:fld id="{F705D989-A34E-49C9-800F-7A0EDF49A7B3}" type="slidenum">
              <a:rPr lang="es-CO" smtClean="0"/>
              <a:t>28</a:t>
            </a:fld>
            <a:endParaRPr lang="es-CO"/>
          </a:p>
        </p:txBody>
      </p:sp>
    </p:spTree>
    <p:extLst>
      <p:ext uri="{BB962C8B-B14F-4D97-AF65-F5344CB8AC3E}">
        <p14:creationId xmlns:p14="http://schemas.microsoft.com/office/powerpoint/2010/main" val="31727335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dirty="0">
                <a:solidFill>
                  <a:srgbClr val="5F5F5F"/>
                </a:solidFill>
                <a:sym typeface="Calibri"/>
              </a:rPr>
              <a:t>Fuente</a:t>
            </a:r>
            <a:r>
              <a:rPr lang="es-CO" dirty="0">
                <a:solidFill>
                  <a:srgbClr val="666666"/>
                </a:solidFill>
                <a:ea typeface="Calibri"/>
                <a:cs typeface="Calibri"/>
                <a:sym typeface="Calibri"/>
              </a:rPr>
              <a:t>: </a:t>
            </a:r>
            <a:r>
              <a:rPr lang="es-CO" dirty="0">
                <a:solidFill>
                  <a:srgbClr val="666666"/>
                </a:solidFill>
                <a:ea typeface="Calibri"/>
                <a:cs typeface="Calibri"/>
                <a:sym typeface="Calibri"/>
                <a:hlinkClick r:id="rId3"/>
              </a:rPr>
              <a:t>https://s3.amazonaws.com/assets.datacamp.com/blog_assets/Data-Science-Periodic-Table.pdf</a:t>
            </a:r>
            <a:endParaRPr lang="es-CO" dirty="0">
              <a:solidFill>
                <a:srgbClr val="666666"/>
              </a:solidFill>
              <a:ea typeface="Calibri"/>
              <a:cs typeface="Calibri"/>
              <a:sym typeface="Calibri"/>
            </a:endParaRPr>
          </a:p>
          <a:p>
            <a:endParaRPr lang="es-CO" dirty="0"/>
          </a:p>
        </p:txBody>
      </p:sp>
      <p:sp>
        <p:nvSpPr>
          <p:cNvPr id="4" name="Marcador de número de diapositiva 3"/>
          <p:cNvSpPr>
            <a:spLocks noGrp="1"/>
          </p:cNvSpPr>
          <p:nvPr>
            <p:ph type="sldNum" sz="quarter" idx="10"/>
          </p:nvPr>
        </p:nvSpPr>
        <p:spPr/>
        <p:txBody>
          <a:bodyPr/>
          <a:lstStyle/>
          <a:p>
            <a:fld id="{F705D989-A34E-49C9-800F-7A0EDF49A7B3}" type="slidenum">
              <a:rPr lang="es-CO" smtClean="0"/>
              <a:t>29</a:t>
            </a:fld>
            <a:endParaRPr lang="es-CO"/>
          </a:p>
        </p:txBody>
      </p:sp>
    </p:spTree>
    <p:extLst>
      <p:ext uri="{BB962C8B-B14F-4D97-AF65-F5344CB8AC3E}">
        <p14:creationId xmlns:p14="http://schemas.microsoft.com/office/powerpoint/2010/main" val="27179638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dirty="0">
                <a:solidFill>
                  <a:srgbClr val="5F5F5F"/>
                </a:solidFill>
                <a:sym typeface="Calibri"/>
              </a:rPr>
              <a:t>Fuente</a:t>
            </a:r>
            <a:r>
              <a:rPr lang="es-CO" dirty="0">
                <a:solidFill>
                  <a:srgbClr val="666666"/>
                </a:solidFill>
                <a:ea typeface="Calibri"/>
                <a:cs typeface="Calibri"/>
                <a:sym typeface="Calibri"/>
              </a:rPr>
              <a:t>: </a:t>
            </a:r>
            <a:r>
              <a:rPr lang="es-CO" dirty="0">
                <a:solidFill>
                  <a:srgbClr val="666666"/>
                </a:solidFill>
                <a:ea typeface="Calibri"/>
                <a:cs typeface="Calibri"/>
                <a:sym typeface="Calibri"/>
                <a:hlinkClick r:id="rId3"/>
              </a:rPr>
              <a:t>https://s3.amazonaws.com/assets.datacamp.com/blog_assets/Data-Science-Periodic-Table.pdf</a:t>
            </a:r>
            <a:endParaRPr lang="es-CO" dirty="0">
              <a:solidFill>
                <a:srgbClr val="666666"/>
              </a:solidFill>
              <a:ea typeface="Calibri"/>
              <a:cs typeface="Calibri"/>
              <a:sym typeface="Calibri"/>
            </a:endParaRPr>
          </a:p>
          <a:p>
            <a:endParaRPr lang="es-CO" dirty="0"/>
          </a:p>
        </p:txBody>
      </p:sp>
      <p:sp>
        <p:nvSpPr>
          <p:cNvPr id="4" name="Marcador de número de diapositiva 3"/>
          <p:cNvSpPr>
            <a:spLocks noGrp="1"/>
          </p:cNvSpPr>
          <p:nvPr>
            <p:ph type="sldNum" sz="quarter" idx="10"/>
          </p:nvPr>
        </p:nvSpPr>
        <p:spPr/>
        <p:txBody>
          <a:bodyPr/>
          <a:lstStyle/>
          <a:p>
            <a:fld id="{F705D989-A34E-49C9-800F-7A0EDF49A7B3}" type="slidenum">
              <a:rPr lang="es-CO" smtClean="0"/>
              <a:t>30</a:t>
            </a:fld>
            <a:endParaRPr lang="es-CO"/>
          </a:p>
        </p:txBody>
      </p:sp>
    </p:spTree>
    <p:extLst>
      <p:ext uri="{BB962C8B-B14F-4D97-AF65-F5344CB8AC3E}">
        <p14:creationId xmlns:p14="http://schemas.microsoft.com/office/powerpoint/2010/main" val="24701181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dirty="0">
                <a:solidFill>
                  <a:srgbClr val="5F5F5F"/>
                </a:solidFill>
                <a:sym typeface="Calibri"/>
              </a:rPr>
              <a:t>Fuente</a:t>
            </a:r>
            <a:r>
              <a:rPr lang="es-CO" dirty="0">
                <a:solidFill>
                  <a:srgbClr val="666666"/>
                </a:solidFill>
                <a:ea typeface="Calibri"/>
                <a:cs typeface="Calibri"/>
                <a:sym typeface="Calibri"/>
              </a:rPr>
              <a:t>: </a:t>
            </a:r>
            <a:r>
              <a:rPr lang="es-CO" dirty="0">
                <a:solidFill>
                  <a:srgbClr val="666666"/>
                </a:solidFill>
                <a:ea typeface="Calibri"/>
                <a:cs typeface="Calibri"/>
                <a:sym typeface="Calibri"/>
                <a:hlinkClick r:id="rId3"/>
              </a:rPr>
              <a:t>https://s3.amazonaws.com/assets.datacamp.com/blog_assets/Data-Science-Periodic-Table.pdf</a:t>
            </a:r>
            <a:endParaRPr lang="es-CO" dirty="0">
              <a:solidFill>
                <a:srgbClr val="666666"/>
              </a:solidFill>
              <a:ea typeface="Calibri"/>
              <a:cs typeface="Calibri"/>
              <a:sym typeface="Calibri"/>
            </a:endParaRPr>
          </a:p>
          <a:p>
            <a:endParaRPr lang="es-CO" dirty="0"/>
          </a:p>
        </p:txBody>
      </p:sp>
      <p:sp>
        <p:nvSpPr>
          <p:cNvPr id="4" name="Marcador de número de diapositiva 3"/>
          <p:cNvSpPr>
            <a:spLocks noGrp="1"/>
          </p:cNvSpPr>
          <p:nvPr>
            <p:ph type="sldNum" sz="quarter" idx="10"/>
          </p:nvPr>
        </p:nvSpPr>
        <p:spPr/>
        <p:txBody>
          <a:bodyPr/>
          <a:lstStyle/>
          <a:p>
            <a:fld id="{F705D989-A34E-49C9-800F-7A0EDF49A7B3}" type="slidenum">
              <a:rPr lang="es-CO" smtClean="0"/>
              <a:t>31</a:t>
            </a:fld>
            <a:endParaRPr lang="es-CO"/>
          </a:p>
        </p:txBody>
      </p:sp>
    </p:spTree>
    <p:extLst>
      <p:ext uri="{BB962C8B-B14F-4D97-AF65-F5344CB8AC3E}">
        <p14:creationId xmlns:p14="http://schemas.microsoft.com/office/powerpoint/2010/main" val="42596874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dirty="0">
                <a:solidFill>
                  <a:srgbClr val="5F5F5F"/>
                </a:solidFill>
                <a:sym typeface="Calibri"/>
              </a:rPr>
              <a:t>Fuente</a:t>
            </a:r>
            <a:r>
              <a:rPr lang="es-CO" dirty="0">
                <a:solidFill>
                  <a:srgbClr val="666666"/>
                </a:solidFill>
                <a:ea typeface="Calibri"/>
                <a:cs typeface="Calibri"/>
                <a:sym typeface="Calibri"/>
              </a:rPr>
              <a:t>: </a:t>
            </a:r>
            <a:r>
              <a:rPr lang="es-CO" dirty="0">
                <a:solidFill>
                  <a:srgbClr val="666666"/>
                </a:solidFill>
                <a:ea typeface="Calibri"/>
                <a:cs typeface="Calibri"/>
                <a:sym typeface="Calibri"/>
                <a:hlinkClick r:id="rId3"/>
              </a:rPr>
              <a:t>https://s3.amazonaws.com/assets.datacamp.com/blog_assets/Data-Science-Periodic-Table.pdf</a:t>
            </a:r>
            <a:endParaRPr lang="es-CO" dirty="0">
              <a:solidFill>
                <a:srgbClr val="666666"/>
              </a:solidFill>
              <a:ea typeface="Calibri"/>
              <a:cs typeface="Calibri"/>
              <a:sym typeface="Calibri"/>
            </a:endParaRPr>
          </a:p>
          <a:p>
            <a:endParaRPr lang="es-CO" dirty="0"/>
          </a:p>
        </p:txBody>
      </p:sp>
      <p:sp>
        <p:nvSpPr>
          <p:cNvPr id="4" name="Marcador de número de diapositiva 3"/>
          <p:cNvSpPr>
            <a:spLocks noGrp="1"/>
          </p:cNvSpPr>
          <p:nvPr>
            <p:ph type="sldNum" sz="quarter" idx="10"/>
          </p:nvPr>
        </p:nvSpPr>
        <p:spPr/>
        <p:txBody>
          <a:bodyPr/>
          <a:lstStyle/>
          <a:p>
            <a:fld id="{F705D989-A34E-49C9-800F-7A0EDF49A7B3}" type="slidenum">
              <a:rPr lang="es-CO" smtClean="0"/>
              <a:t>32</a:t>
            </a:fld>
            <a:endParaRPr lang="es-CO"/>
          </a:p>
        </p:txBody>
      </p:sp>
    </p:spTree>
    <p:extLst>
      <p:ext uri="{BB962C8B-B14F-4D97-AF65-F5344CB8AC3E}">
        <p14:creationId xmlns:p14="http://schemas.microsoft.com/office/powerpoint/2010/main" val="8430405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dirty="0">
                <a:solidFill>
                  <a:srgbClr val="5F5F5F"/>
                </a:solidFill>
                <a:sym typeface="Calibri"/>
              </a:rPr>
              <a:t>Fuente</a:t>
            </a:r>
            <a:r>
              <a:rPr lang="es-CO" dirty="0">
                <a:solidFill>
                  <a:srgbClr val="666666"/>
                </a:solidFill>
                <a:ea typeface="Calibri"/>
                <a:cs typeface="Calibri"/>
                <a:sym typeface="Calibri"/>
              </a:rPr>
              <a:t>: </a:t>
            </a:r>
            <a:r>
              <a:rPr lang="es-CO" dirty="0">
                <a:solidFill>
                  <a:srgbClr val="666666"/>
                </a:solidFill>
                <a:ea typeface="Calibri"/>
                <a:cs typeface="Calibri"/>
                <a:sym typeface="Calibri"/>
                <a:hlinkClick r:id="rId3"/>
              </a:rPr>
              <a:t>https://s3.amazonaws.com/assets.datacamp.com/blog_assets/Data-Science-Periodic-Table.pdf</a:t>
            </a:r>
            <a:endParaRPr lang="es-CO" dirty="0">
              <a:solidFill>
                <a:srgbClr val="666666"/>
              </a:solidFill>
              <a:ea typeface="Calibri"/>
              <a:cs typeface="Calibri"/>
              <a:sym typeface="Calibri"/>
            </a:endParaRPr>
          </a:p>
          <a:p>
            <a:endParaRPr lang="es-CO" dirty="0"/>
          </a:p>
        </p:txBody>
      </p:sp>
      <p:sp>
        <p:nvSpPr>
          <p:cNvPr id="4" name="Marcador de número de diapositiva 3"/>
          <p:cNvSpPr>
            <a:spLocks noGrp="1"/>
          </p:cNvSpPr>
          <p:nvPr>
            <p:ph type="sldNum" sz="quarter" idx="10"/>
          </p:nvPr>
        </p:nvSpPr>
        <p:spPr/>
        <p:txBody>
          <a:bodyPr/>
          <a:lstStyle/>
          <a:p>
            <a:fld id="{F705D989-A34E-49C9-800F-7A0EDF49A7B3}" type="slidenum">
              <a:rPr lang="es-CO" smtClean="0"/>
              <a:t>33</a:t>
            </a:fld>
            <a:endParaRPr lang="es-CO"/>
          </a:p>
        </p:txBody>
      </p:sp>
    </p:spTree>
    <p:extLst>
      <p:ext uri="{BB962C8B-B14F-4D97-AF65-F5344CB8AC3E}">
        <p14:creationId xmlns:p14="http://schemas.microsoft.com/office/powerpoint/2010/main" val="41956613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705D989-A34E-49C9-800F-7A0EDF49A7B3}" type="slidenum">
              <a:rPr kumimoji="0" lang="es-CO"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s-CO"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6240744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O" sz="1200" dirty="0">
                <a:solidFill>
                  <a:srgbClr val="5F5F5F"/>
                </a:solidFill>
              </a:rPr>
              <a:t>Refer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O" sz="1200" dirty="0">
              <a:solidFill>
                <a:srgbClr val="5F5F5F"/>
              </a:solidFil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Minería de datos (</a:t>
            </a:r>
            <a:r>
              <a:rPr lang="es-419" sz="1200" b="0" i="0" u="none" strike="noStrike" kern="1200" baseline="0" dirty="0" err="1">
                <a:solidFill>
                  <a:schemeClr val="tx1"/>
                </a:solidFill>
                <a:latin typeface="+mn-lt"/>
                <a:ea typeface="+mn-ea"/>
                <a:cs typeface="+mn-cs"/>
              </a:rPr>
              <a:t>Witten</a:t>
            </a:r>
            <a:r>
              <a:rPr lang="es-419" sz="1200" b="0" i="0" u="none" strike="noStrike" kern="1200" baseline="0" dirty="0">
                <a:solidFill>
                  <a:schemeClr val="tx1"/>
                </a:solidFill>
                <a:latin typeface="+mn-lt"/>
                <a:ea typeface="+mn-ea"/>
                <a:cs typeface="+mn-cs"/>
              </a:rPr>
              <a:t>, Frank, Hall y Pal, 2017, p. 6)</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Aprendizaje de máquina (Mitchell, 1997, p. 1)</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Ciencia de datos (</a:t>
            </a:r>
            <a:r>
              <a:rPr lang="es-419" sz="1200" b="0" i="0" u="none" strike="noStrike" kern="1200" baseline="0" dirty="0" err="1">
                <a:solidFill>
                  <a:schemeClr val="tx1"/>
                </a:solidFill>
                <a:latin typeface="+mn-lt"/>
                <a:ea typeface="+mn-ea"/>
                <a:cs typeface="+mn-cs"/>
              </a:rPr>
              <a:t>Gollapudi</a:t>
            </a:r>
            <a:r>
              <a:rPr lang="es-419" sz="1200" b="0" i="0" u="none" strike="noStrike" kern="1200" baseline="0" dirty="0">
                <a:solidFill>
                  <a:schemeClr val="tx1"/>
                </a:solidFill>
                <a:latin typeface="+mn-lt"/>
                <a:ea typeface="+mn-ea"/>
                <a:cs typeface="+mn-cs"/>
              </a:rPr>
              <a:t>, 2016, pp. 30-3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419"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419" sz="1200" b="0" i="0" u="none" strike="noStrike" kern="1200" baseline="0" dirty="0">
                <a:solidFill>
                  <a:schemeClr val="tx1"/>
                </a:solidFill>
                <a:latin typeface="+mn-lt"/>
                <a:ea typeface="+mn-ea"/>
                <a:cs typeface="+mn-cs"/>
              </a:rPr>
              <a:t>La Ciencia de datos puede definirse como la transformación de datos usando matemáticas y estadística en decisiones y productos de valor para los negocios (</a:t>
            </a:r>
            <a:r>
              <a:rPr lang="es-419" sz="1200" b="0" i="0" u="none" strike="noStrike" kern="1200" baseline="0" dirty="0" err="1">
                <a:solidFill>
                  <a:schemeClr val="tx1"/>
                </a:solidFill>
                <a:latin typeface="+mn-lt"/>
                <a:ea typeface="+mn-ea"/>
                <a:cs typeface="+mn-cs"/>
              </a:rPr>
              <a:t>Foreman</a:t>
            </a:r>
            <a:r>
              <a:rPr lang="es-419" sz="1200" b="0" i="0" u="none" strike="noStrike" kern="1200" baseline="0" dirty="0">
                <a:solidFill>
                  <a:schemeClr val="tx1"/>
                </a:solidFill>
                <a:latin typeface="+mn-lt"/>
                <a:ea typeface="+mn-ea"/>
                <a:cs typeface="+mn-cs"/>
              </a:rPr>
              <a:t>, 2013)</a:t>
            </a:r>
          </a:p>
        </p:txBody>
      </p:sp>
      <p:sp>
        <p:nvSpPr>
          <p:cNvPr id="4" name="Marcador de número de diapositiva 3"/>
          <p:cNvSpPr>
            <a:spLocks noGrp="1"/>
          </p:cNvSpPr>
          <p:nvPr>
            <p:ph type="sldNum" sz="quarter" idx="10"/>
          </p:nvPr>
        </p:nvSpPr>
        <p:spPr/>
        <p:txBody>
          <a:bodyPr/>
          <a:lstStyle/>
          <a:p>
            <a:fld id="{F705D989-A34E-49C9-800F-7A0EDF49A7B3}" type="slidenum">
              <a:rPr lang="es-CO" smtClean="0"/>
              <a:t>3</a:t>
            </a:fld>
            <a:endParaRPr lang="es-CO"/>
          </a:p>
        </p:txBody>
      </p:sp>
    </p:spTree>
    <p:extLst>
      <p:ext uri="{BB962C8B-B14F-4D97-AF65-F5344CB8AC3E}">
        <p14:creationId xmlns:p14="http://schemas.microsoft.com/office/powerpoint/2010/main" val="123446942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CRISP - DM (Cross </a:t>
            </a:r>
            <a:r>
              <a:rPr lang="es-ES" dirty="0" err="1"/>
              <a:t>Industry</a:t>
            </a:r>
            <a:r>
              <a:rPr lang="es-ES" dirty="0"/>
              <a:t> Standard </a:t>
            </a:r>
            <a:r>
              <a:rPr lang="es-ES" dirty="0" err="1"/>
              <a:t>Process</a:t>
            </a:r>
            <a:r>
              <a:rPr lang="es-ES" dirty="0"/>
              <a:t> </a:t>
            </a:r>
            <a:r>
              <a:rPr lang="es-ES" dirty="0" err="1"/>
              <a:t>for</a:t>
            </a:r>
            <a:r>
              <a:rPr lang="es-ES" dirty="0"/>
              <a:t> Data </a:t>
            </a:r>
            <a:r>
              <a:rPr lang="es-ES" dirty="0" err="1"/>
              <a:t>Mining</a:t>
            </a:r>
            <a:r>
              <a:rPr lang="es-ES" dirty="0"/>
              <a:t>)</a:t>
            </a:r>
            <a:endParaRPr lang="x-none" dirty="0"/>
          </a:p>
        </p:txBody>
      </p:sp>
      <p:sp>
        <p:nvSpPr>
          <p:cNvPr id="4" name="Marcador de número de diapositiva 3"/>
          <p:cNvSpPr>
            <a:spLocks noGrp="1"/>
          </p:cNvSpPr>
          <p:nvPr>
            <p:ph type="sldNum" sz="quarter" idx="10"/>
          </p:nvPr>
        </p:nvSpPr>
        <p:spPr/>
        <p:txBody>
          <a:bodyPr/>
          <a:lstStyle/>
          <a:p>
            <a:fld id="{F705D989-A34E-49C9-800F-7A0EDF49A7B3}" type="slidenum">
              <a:rPr lang="es-CO" smtClean="0"/>
              <a:t>36</a:t>
            </a:fld>
            <a:endParaRPr lang="es-CO"/>
          </a:p>
        </p:txBody>
      </p:sp>
    </p:spTree>
    <p:extLst>
      <p:ext uri="{BB962C8B-B14F-4D97-AF65-F5344CB8AC3E}">
        <p14:creationId xmlns:p14="http://schemas.microsoft.com/office/powerpoint/2010/main" val="24363985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a:t>CRISP - DM (Cross Industry Standard Process for Data Mining)</a:t>
            </a:r>
            <a:endParaRPr lang="x-none" dirty="0"/>
          </a:p>
        </p:txBody>
      </p:sp>
      <p:sp>
        <p:nvSpPr>
          <p:cNvPr id="4" name="Marcador de número de diapositiva 3"/>
          <p:cNvSpPr>
            <a:spLocks noGrp="1"/>
          </p:cNvSpPr>
          <p:nvPr>
            <p:ph type="sldNum" sz="quarter" idx="10"/>
          </p:nvPr>
        </p:nvSpPr>
        <p:spPr/>
        <p:txBody>
          <a:bodyPr/>
          <a:lstStyle/>
          <a:p>
            <a:fld id="{F705D989-A34E-49C9-800F-7A0EDF49A7B3}" type="slidenum">
              <a:rPr lang="es-CO" smtClean="0"/>
              <a:t>37</a:t>
            </a:fld>
            <a:endParaRPr lang="es-CO"/>
          </a:p>
        </p:txBody>
      </p:sp>
    </p:spTree>
    <p:extLst>
      <p:ext uri="{BB962C8B-B14F-4D97-AF65-F5344CB8AC3E}">
        <p14:creationId xmlns:p14="http://schemas.microsoft.com/office/powerpoint/2010/main" val="34759420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10"/>
          </p:nvPr>
        </p:nvSpPr>
        <p:spPr/>
        <p:txBody>
          <a:bodyPr/>
          <a:lstStyle/>
          <a:p>
            <a:fld id="{4FF6D30E-2BBC-43DE-9532-0F50F6E79F7B}" type="slidenum">
              <a:rPr lang="es-CO" smtClean="0"/>
              <a:t>38</a:t>
            </a:fld>
            <a:endParaRPr lang="es-CO"/>
          </a:p>
        </p:txBody>
      </p:sp>
    </p:spTree>
    <p:extLst>
      <p:ext uri="{BB962C8B-B14F-4D97-AF65-F5344CB8AC3E}">
        <p14:creationId xmlns:p14="http://schemas.microsoft.com/office/powerpoint/2010/main" val="11040166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419" dirty="0"/>
              <a:t>Ver ejemplos: https://machinelearningmastery.com/linear-regression-in-r/</a:t>
            </a:r>
            <a:endParaRPr lang="en-US" sz="1200" b="0" kern="1200" dirty="0">
              <a:solidFill>
                <a:srgbClr val="5F5F5F"/>
              </a:solidFill>
              <a:latin typeface="+mn-lt"/>
              <a:ea typeface="+mn-ea"/>
              <a:cs typeface="+mn-cs"/>
            </a:endParaRPr>
          </a:p>
        </p:txBody>
      </p:sp>
      <p:sp>
        <p:nvSpPr>
          <p:cNvPr id="4" name="Marcador de número de diapositiva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FF6D30E-2BBC-43DE-9532-0F50F6E79F7B}" type="slidenum">
              <a:rPr kumimoji="0" lang="es-CO"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s-CO"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75349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dirty="0">
              <a:solidFill>
                <a:srgbClr val="5F5F5F"/>
              </a:solidFill>
              <a:latin typeface="+mn-lt"/>
              <a:ea typeface="+mn-ea"/>
              <a:cs typeface="+mn-cs"/>
            </a:endParaRPr>
          </a:p>
        </p:txBody>
      </p:sp>
      <p:sp>
        <p:nvSpPr>
          <p:cNvPr id="4" name="Marcador de número de diapositiva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FF6D30E-2BBC-43DE-9532-0F50F6E79F7B}" type="slidenum">
              <a:rPr kumimoji="0" lang="es-CO"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s-CO"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089505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dirty="0">
              <a:solidFill>
                <a:srgbClr val="5F5F5F"/>
              </a:solidFill>
              <a:latin typeface="+mn-lt"/>
              <a:ea typeface="+mn-ea"/>
              <a:cs typeface="+mn-cs"/>
            </a:endParaRPr>
          </a:p>
        </p:txBody>
      </p:sp>
      <p:sp>
        <p:nvSpPr>
          <p:cNvPr id="4" name="Marcador de número de diapositiva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FF6D30E-2BBC-43DE-9532-0F50F6E79F7B}" type="slidenum">
              <a:rPr kumimoji="0" lang="es-CO"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s-CO"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6033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CO" dirty="0"/>
          </a:p>
        </p:txBody>
      </p:sp>
      <p:sp>
        <p:nvSpPr>
          <p:cNvPr id="4" name="3 Marcador de número de diapositiva"/>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184D17-2FDB-4EC8-BDEC-7A251800F36C}" type="slidenum">
              <a:rPr kumimoji="0" lang="es-CO"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s-CO"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468570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CO" dirty="0"/>
          </a:p>
        </p:txBody>
      </p:sp>
      <p:sp>
        <p:nvSpPr>
          <p:cNvPr id="4" name="3 Marcador de número de diapositiva"/>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184D17-2FDB-4EC8-BDEC-7A251800F36C}" type="slidenum">
              <a:rPr kumimoji="0" lang="es-CO"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s-CO"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463507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CO" dirty="0"/>
          </a:p>
        </p:txBody>
      </p:sp>
      <p:sp>
        <p:nvSpPr>
          <p:cNvPr id="4" name="3 Marcador de número de diapositiva"/>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184D17-2FDB-4EC8-BDEC-7A251800F36C}" type="slidenum">
              <a:rPr kumimoji="0" lang="es-CO"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s-CO"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0358252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CO" dirty="0"/>
          </a:p>
        </p:txBody>
      </p:sp>
      <p:sp>
        <p:nvSpPr>
          <p:cNvPr id="4" name="3 Marcador de número de diapositiva"/>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184D17-2FDB-4EC8-BDEC-7A251800F36C}" type="slidenum">
              <a:rPr kumimoji="0" lang="es-CO"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s-CO"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681975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O" sz="1200" dirty="0">
                <a:solidFill>
                  <a:srgbClr val="5F5F5F"/>
                </a:solidFill>
              </a:rPr>
              <a:t>Refer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O" sz="1200" dirty="0">
              <a:solidFill>
                <a:srgbClr val="5F5F5F"/>
              </a:solidFil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Minería de datos (</a:t>
            </a:r>
            <a:r>
              <a:rPr lang="es-419" sz="1200" b="0" i="0" u="none" strike="noStrike" kern="1200" baseline="0" dirty="0" err="1">
                <a:solidFill>
                  <a:schemeClr val="tx1"/>
                </a:solidFill>
                <a:latin typeface="+mn-lt"/>
                <a:ea typeface="+mn-ea"/>
                <a:cs typeface="+mn-cs"/>
              </a:rPr>
              <a:t>Witten</a:t>
            </a:r>
            <a:r>
              <a:rPr lang="es-419" sz="1200" b="0" i="0" u="none" strike="noStrike" kern="1200" baseline="0" dirty="0">
                <a:solidFill>
                  <a:schemeClr val="tx1"/>
                </a:solidFill>
                <a:latin typeface="+mn-lt"/>
                <a:ea typeface="+mn-ea"/>
                <a:cs typeface="+mn-cs"/>
              </a:rPr>
              <a:t>, Frank, Hall y Pal, 2017, p. 6)</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Aprendizaje de máquina (Mitchell, 1997, p. 1)</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Ciencia de datos (</a:t>
            </a:r>
            <a:r>
              <a:rPr lang="es-419" sz="1200" b="0" i="0" u="none" strike="noStrike" kern="1200" baseline="0" dirty="0" err="1">
                <a:solidFill>
                  <a:schemeClr val="tx1"/>
                </a:solidFill>
                <a:latin typeface="+mn-lt"/>
                <a:ea typeface="+mn-ea"/>
                <a:cs typeface="+mn-cs"/>
              </a:rPr>
              <a:t>Gollapudi</a:t>
            </a:r>
            <a:r>
              <a:rPr lang="es-419" sz="1200" b="0" i="0" u="none" strike="noStrike" kern="1200" baseline="0" dirty="0">
                <a:solidFill>
                  <a:schemeClr val="tx1"/>
                </a:solidFill>
                <a:latin typeface="+mn-lt"/>
                <a:ea typeface="+mn-ea"/>
                <a:cs typeface="+mn-cs"/>
              </a:rPr>
              <a:t>, 2016, pp. 30-3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419"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419" sz="1200" b="0" i="0" u="none" strike="noStrike" kern="1200" baseline="0" dirty="0">
                <a:solidFill>
                  <a:schemeClr val="tx1"/>
                </a:solidFill>
                <a:latin typeface="+mn-lt"/>
                <a:ea typeface="+mn-ea"/>
                <a:cs typeface="+mn-cs"/>
              </a:rPr>
              <a:t>La Ciencia de datos puede definirse como la transformación de datos usando matemáticas y estadística en decisiones y productos de valor para los negocios (</a:t>
            </a:r>
            <a:r>
              <a:rPr lang="es-419" sz="1200" b="0" i="0" u="none" strike="noStrike" kern="1200" baseline="0" dirty="0" err="1">
                <a:solidFill>
                  <a:schemeClr val="tx1"/>
                </a:solidFill>
                <a:latin typeface="+mn-lt"/>
                <a:ea typeface="+mn-ea"/>
                <a:cs typeface="+mn-cs"/>
              </a:rPr>
              <a:t>Foreman</a:t>
            </a:r>
            <a:r>
              <a:rPr lang="es-419" sz="1200" b="0" i="0" u="none" strike="noStrike" kern="1200" baseline="0" dirty="0">
                <a:solidFill>
                  <a:schemeClr val="tx1"/>
                </a:solidFill>
                <a:latin typeface="+mn-lt"/>
                <a:ea typeface="+mn-ea"/>
                <a:cs typeface="+mn-cs"/>
              </a:rPr>
              <a:t>, 2013)</a:t>
            </a:r>
          </a:p>
        </p:txBody>
      </p:sp>
      <p:sp>
        <p:nvSpPr>
          <p:cNvPr id="4" name="Marcador de número de diapositiva 3"/>
          <p:cNvSpPr>
            <a:spLocks noGrp="1"/>
          </p:cNvSpPr>
          <p:nvPr>
            <p:ph type="sldNum" sz="quarter" idx="10"/>
          </p:nvPr>
        </p:nvSpPr>
        <p:spPr/>
        <p:txBody>
          <a:bodyPr/>
          <a:lstStyle/>
          <a:p>
            <a:fld id="{F705D989-A34E-49C9-800F-7A0EDF49A7B3}" type="slidenum">
              <a:rPr lang="es-CO" smtClean="0"/>
              <a:t>4</a:t>
            </a:fld>
            <a:endParaRPr lang="es-CO"/>
          </a:p>
        </p:txBody>
      </p:sp>
    </p:spTree>
    <p:extLst>
      <p:ext uri="{BB962C8B-B14F-4D97-AF65-F5344CB8AC3E}">
        <p14:creationId xmlns:p14="http://schemas.microsoft.com/office/powerpoint/2010/main" val="21722838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O" sz="1200" dirty="0">
                <a:solidFill>
                  <a:srgbClr val="5F5F5F"/>
                </a:solidFill>
              </a:rPr>
              <a:t>Refer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O" sz="1200" dirty="0">
              <a:solidFill>
                <a:srgbClr val="5F5F5F"/>
              </a:solidFil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Minería de datos (</a:t>
            </a:r>
            <a:r>
              <a:rPr lang="es-419" sz="1200" b="0" i="0" u="none" strike="noStrike" kern="1200" baseline="0" dirty="0" err="1">
                <a:solidFill>
                  <a:schemeClr val="tx1"/>
                </a:solidFill>
                <a:latin typeface="+mn-lt"/>
                <a:ea typeface="+mn-ea"/>
                <a:cs typeface="+mn-cs"/>
              </a:rPr>
              <a:t>Witten</a:t>
            </a:r>
            <a:r>
              <a:rPr lang="es-419" sz="1200" b="0" i="0" u="none" strike="noStrike" kern="1200" baseline="0" dirty="0">
                <a:solidFill>
                  <a:schemeClr val="tx1"/>
                </a:solidFill>
                <a:latin typeface="+mn-lt"/>
                <a:ea typeface="+mn-ea"/>
                <a:cs typeface="+mn-cs"/>
              </a:rPr>
              <a:t>, Frank, Hall y Pal, 2017, p. 6)</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Aprendizaje de máquina (Mitchell, 1997, p. 1)</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Ciencia de datos (</a:t>
            </a:r>
            <a:r>
              <a:rPr lang="es-419" sz="1200" b="0" i="0" u="none" strike="noStrike" kern="1200" baseline="0" dirty="0" err="1">
                <a:solidFill>
                  <a:schemeClr val="tx1"/>
                </a:solidFill>
                <a:latin typeface="+mn-lt"/>
                <a:ea typeface="+mn-ea"/>
                <a:cs typeface="+mn-cs"/>
              </a:rPr>
              <a:t>Gollapudi</a:t>
            </a:r>
            <a:r>
              <a:rPr lang="es-419" sz="1200" b="0" i="0" u="none" strike="noStrike" kern="1200" baseline="0" dirty="0">
                <a:solidFill>
                  <a:schemeClr val="tx1"/>
                </a:solidFill>
                <a:latin typeface="+mn-lt"/>
                <a:ea typeface="+mn-ea"/>
                <a:cs typeface="+mn-cs"/>
              </a:rPr>
              <a:t>, 2016, pp. 30-3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419"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419" sz="1200" b="0" i="0" u="none" strike="noStrike" kern="1200" baseline="0" dirty="0">
                <a:solidFill>
                  <a:schemeClr val="tx1"/>
                </a:solidFill>
                <a:latin typeface="+mn-lt"/>
                <a:ea typeface="+mn-ea"/>
                <a:cs typeface="+mn-cs"/>
              </a:rPr>
              <a:t>La Ciencia de datos puede definirse como la transformación de datos usando matemáticas y estadística en decisiones y productos de valor para los negocios (</a:t>
            </a:r>
            <a:r>
              <a:rPr lang="es-419" sz="1200" b="0" i="0" u="none" strike="noStrike" kern="1200" baseline="0" dirty="0" err="1">
                <a:solidFill>
                  <a:schemeClr val="tx1"/>
                </a:solidFill>
                <a:latin typeface="+mn-lt"/>
                <a:ea typeface="+mn-ea"/>
                <a:cs typeface="+mn-cs"/>
              </a:rPr>
              <a:t>Foreman</a:t>
            </a:r>
            <a:r>
              <a:rPr lang="es-419" sz="1200" b="0" i="0" u="none" strike="noStrike" kern="1200" baseline="0" dirty="0">
                <a:solidFill>
                  <a:schemeClr val="tx1"/>
                </a:solidFill>
                <a:latin typeface="+mn-lt"/>
                <a:ea typeface="+mn-ea"/>
                <a:cs typeface="+mn-cs"/>
              </a:rPr>
              <a:t>, 2013)</a:t>
            </a:r>
          </a:p>
        </p:txBody>
      </p:sp>
      <p:sp>
        <p:nvSpPr>
          <p:cNvPr id="4" name="Marcador de número de diapositiva 3"/>
          <p:cNvSpPr>
            <a:spLocks noGrp="1"/>
          </p:cNvSpPr>
          <p:nvPr>
            <p:ph type="sldNum" sz="quarter" idx="10"/>
          </p:nvPr>
        </p:nvSpPr>
        <p:spPr/>
        <p:txBody>
          <a:bodyPr/>
          <a:lstStyle/>
          <a:p>
            <a:fld id="{F705D989-A34E-49C9-800F-7A0EDF49A7B3}" type="slidenum">
              <a:rPr lang="es-CO" smtClean="0"/>
              <a:t>5</a:t>
            </a:fld>
            <a:endParaRPr lang="es-CO"/>
          </a:p>
        </p:txBody>
      </p:sp>
    </p:spTree>
    <p:extLst>
      <p:ext uri="{BB962C8B-B14F-4D97-AF65-F5344CB8AC3E}">
        <p14:creationId xmlns:p14="http://schemas.microsoft.com/office/powerpoint/2010/main" val="8029206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O" sz="1200" dirty="0">
                <a:solidFill>
                  <a:srgbClr val="5F5F5F"/>
                </a:solidFill>
              </a:rPr>
              <a:t>Refer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O" sz="1200" dirty="0">
              <a:solidFill>
                <a:srgbClr val="5F5F5F"/>
              </a:solidFil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Minería de datos (</a:t>
            </a:r>
            <a:r>
              <a:rPr lang="es-419" sz="1200" b="0" i="0" u="none" strike="noStrike" kern="1200" baseline="0" dirty="0" err="1">
                <a:solidFill>
                  <a:schemeClr val="tx1"/>
                </a:solidFill>
                <a:latin typeface="+mn-lt"/>
                <a:ea typeface="+mn-ea"/>
                <a:cs typeface="+mn-cs"/>
              </a:rPr>
              <a:t>Witten</a:t>
            </a:r>
            <a:r>
              <a:rPr lang="es-419" sz="1200" b="0" i="0" u="none" strike="noStrike" kern="1200" baseline="0" dirty="0">
                <a:solidFill>
                  <a:schemeClr val="tx1"/>
                </a:solidFill>
                <a:latin typeface="+mn-lt"/>
                <a:ea typeface="+mn-ea"/>
                <a:cs typeface="+mn-cs"/>
              </a:rPr>
              <a:t>, Frank, Hall y Pal, 2017, p. 6)</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Aprendizaje de máquina (Mitchell, 1997, p. 1)</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Ciencia de datos (</a:t>
            </a:r>
            <a:r>
              <a:rPr lang="es-419" sz="1200" b="0" i="0" u="none" strike="noStrike" kern="1200" baseline="0" dirty="0" err="1">
                <a:solidFill>
                  <a:schemeClr val="tx1"/>
                </a:solidFill>
                <a:latin typeface="+mn-lt"/>
                <a:ea typeface="+mn-ea"/>
                <a:cs typeface="+mn-cs"/>
              </a:rPr>
              <a:t>Gollapudi</a:t>
            </a:r>
            <a:r>
              <a:rPr lang="es-419" sz="1200" b="0" i="0" u="none" strike="noStrike" kern="1200" baseline="0" dirty="0">
                <a:solidFill>
                  <a:schemeClr val="tx1"/>
                </a:solidFill>
                <a:latin typeface="+mn-lt"/>
                <a:ea typeface="+mn-ea"/>
                <a:cs typeface="+mn-cs"/>
              </a:rPr>
              <a:t>, 2016, pp. 30-3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419"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419" sz="1200" b="0" i="0" u="none" strike="noStrike" kern="1200" baseline="0" dirty="0">
                <a:solidFill>
                  <a:schemeClr val="tx1"/>
                </a:solidFill>
                <a:latin typeface="+mn-lt"/>
                <a:ea typeface="+mn-ea"/>
                <a:cs typeface="+mn-cs"/>
              </a:rPr>
              <a:t>La Ciencia de datos puede definirse como la transformación de datos usando matemáticas y estadística en decisiones y productos de valor para los negocios (</a:t>
            </a:r>
            <a:r>
              <a:rPr lang="es-419" sz="1200" b="0" i="0" u="none" strike="noStrike" kern="1200" baseline="0" dirty="0" err="1">
                <a:solidFill>
                  <a:schemeClr val="tx1"/>
                </a:solidFill>
                <a:latin typeface="+mn-lt"/>
                <a:ea typeface="+mn-ea"/>
                <a:cs typeface="+mn-cs"/>
              </a:rPr>
              <a:t>Foreman</a:t>
            </a:r>
            <a:r>
              <a:rPr lang="es-419" sz="1200" b="0" i="0" u="none" strike="noStrike" kern="1200" baseline="0" dirty="0">
                <a:solidFill>
                  <a:schemeClr val="tx1"/>
                </a:solidFill>
                <a:latin typeface="+mn-lt"/>
                <a:ea typeface="+mn-ea"/>
                <a:cs typeface="+mn-cs"/>
              </a:rPr>
              <a:t>, 2013)</a:t>
            </a:r>
          </a:p>
        </p:txBody>
      </p:sp>
      <p:sp>
        <p:nvSpPr>
          <p:cNvPr id="4" name="Marcador de número de diapositiva 3"/>
          <p:cNvSpPr>
            <a:spLocks noGrp="1"/>
          </p:cNvSpPr>
          <p:nvPr>
            <p:ph type="sldNum" sz="quarter" idx="10"/>
          </p:nvPr>
        </p:nvSpPr>
        <p:spPr/>
        <p:txBody>
          <a:bodyPr/>
          <a:lstStyle/>
          <a:p>
            <a:fld id="{F705D989-A34E-49C9-800F-7A0EDF49A7B3}" type="slidenum">
              <a:rPr lang="es-CO" smtClean="0"/>
              <a:t>6</a:t>
            </a:fld>
            <a:endParaRPr lang="es-CO"/>
          </a:p>
        </p:txBody>
      </p:sp>
    </p:spTree>
    <p:extLst>
      <p:ext uri="{BB962C8B-B14F-4D97-AF65-F5344CB8AC3E}">
        <p14:creationId xmlns:p14="http://schemas.microsoft.com/office/powerpoint/2010/main" val="23306415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O" sz="1200" dirty="0">
                <a:solidFill>
                  <a:srgbClr val="5F5F5F"/>
                </a:solidFill>
              </a:rPr>
              <a:t>Refer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O" sz="1200" dirty="0">
              <a:solidFill>
                <a:srgbClr val="5F5F5F"/>
              </a:solidFil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Minería de datos (</a:t>
            </a:r>
            <a:r>
              <a:rPr lang="es-419" sz="1200" b="0" i="0" u="none" strike="noStrike" kern="1200" baseline="0" dirty="0" err="1">
                <a:solidFill>
                  <a:schemeClr val="tx1"/>
                </a:solidFill>
                <a:latin typeface="+mn-lt"/>
                <a:ea typeface="+mn-ea"/>
                <a:cs typeface="+mn-cs"/>
              </a:rPr>
              <a:t>Witten</a:t>
            </a:r>
            <a:r>
              <a:rPr lang="es-419" sz="1200" b="0" i="0" u="none" strike="noStrike" kern="1200" baseline="0" dirty="0">
                <a:solidFill>
                  <a:schemeClr val="tx1"/>
                </a:solidFill>
                <a:latin typeface="+mn-lt"/>
                <a:ea typeface="+mn-ea"/>
                <a:cs typeface="+mn-cs"/>
              </a:rPr>
              <a:t>, Frank, Hall y Pal, 2017, p. 6)</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Aprendizaje de máquina (Mitchell, 1997, p. 1)</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Ciencia de datos (</a:t>
            </a:r>
            <a:r>
              <a:rPr lang="es-419" sz="1200" b="0" i="0" u="none" strike="noStrike" kern="1200" baseline="0" dirty="0" err="1">
                <a:solidFill>
                  <a:schemeClr val="tx1"/>
                </a:solidFill>
                <a:latin typeface="+mn-lt"/>
                <a:ea typeface="+mn-ea"/>
                <a:cs typeface="+mn-cs"/>
              </a:rPr>
              <a:t>Gollapudi</a:t>
            </a:r>
            <a:r>
              <a:rPr lang="es-419" sz="1200" b="0" i="0" u="none" strike="noStrike" kern="1200" baseline="0" dirty="0">
                <a:solidFill>
                  <a:schemeClr val="tx1"/>
                </a:solidFill>
                <a:latin typeface="+mn-lt"/>
                <a:ea typeface="+mn-ea"/>
                <a:cs typeface="+mn-cs"/>
              </a:rPr>
              <a:t>, 2016, pp. 30-3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419"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419" sz="1200" b="0" i="0" u="none" strike="noStrike" kern="1200" baseline="0" dirty="0">
                <a:solidFill>
                  <a:schemeClr val="tx1"/>
                </a:solidFill>
                <a:latin typeface="+mn-lt"/>
                <a:ea typeface="+mn-ea"/>
                <a:cs typeface="+mn-cs"/>
              </a:rPr>
              <a:t>La Ciencia de datos puede definirse como la transformación de datos usando matemáticas y estadística en decisiones y productos de valor para los negocios (</a:t>
            </a:r>
            <a:r>
              <a:rPr lang="es-419" sz="1200" b="0" i="0" u="none" strike="noStrike" kern="1200" baseline="0" dirty="0" err="1">
                <a:solidFill>
                  <a:schemeClr val="tx1"/>
                </a:solidFill>
                <a:latin typeface="+mn-lt"/>
                <a:ea typeface="+mn-ea"/>
                <a:cs typeface="+mn-cs"/>
              </a:rPr>
              <a:t>Foreman</a:t>
            </a:r>
            <a:r>
              <a:rPr lang="es-419" sz="1200" b="0" i="0" u="none" strike="noStrike" kern="1200" baseline="0" dirty="0">
                <a:solidFill>
                  <a:schemeClr val="tx1"/>
                </a:solidFill>
                <a:latin typeface="+mn-lt"/>
                <a:ea typeface="+mn-ea"/>
                <a:cs typeface="+mn-cs"/>
              </a:rPr>
              <a:t>, 2013)</a:t>
            </a:r>
          </a:p>
        </p:txBody>
      </p:sp>
      <p:sp>
        <p:nvSpPr>
          <p:cNvPr id="4" name="Marcador de número de diapositiva 3"/>
          <p:cNvSpPr>
            <a:spLocks noGrp="1"/>
          </p:cNvSpPr>
          <p:nvPr>
            <p:ph type="sldNum" sz="quarter" idx="10"/>
          </p:nvPr>
        </p:nvSpPr>
        <p:spPr/>
        <p:txBody>
          <a:bodyPr/>
          <a:lstStyle/>
          <a:p>
            <a:fld id="{F705D989-A34E-49C9-800F-7A0EDF49A7B3}" type="slidenum">
              <a:rPr lang="es-CO" smtClean="0"/>
              <a:t>7</a:t>
            </a:fld>
            <a:endParaRPr lang="es-CO"/>
          </a:p>
        </p:txBody>
      </p:sp>
    </p:spTree>
    <p:extLst>
      <p:ext uri="{BB962C8B-B14F-4D97-AF65-F5344CB8AC3E}">
        <p14:creationId xmlns:p14="http://schemas.microsoft.com/office/powerpoint/2010/main" val="41797415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O" sz="1200" dirty="0">
                <a:solidFill>
                  <a:srgbClr val="5F5F5F"/>
                </a:solidFill>
              </a:rPr>
              <a:t>Refer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O" sz="1200" dirty="0">
              <a:solidFill>
                <a:srgbClr val="5F5F5F"/>
              </a:solidFil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Minería de datos (</a:t>
            </a:r>
            <a:r>
              <a:rPr lang="es-419" sz="1200" b="0" i="0" u="none" strike="noStrike" kern="1200" baseline="0" dirty="0" err="1">
                <a:solidFill>
                  <a:schemeClr val="tx1"/>
                </a:solidFill>
                <a:latin typeface="+mn-lt"/>
                <a:ea typeface="+mn-ea"/>
                <a:cs typeface="+mn-cs"/>
              </a:rPr>
              <a:t>Witten</a:t>
            </a:r>
            <a:r>
              <a:rPr lang="es-419" sz="1200" b="0" i="0" u="none" strike="noStrike" kern="1200" baseline="0" dirty="0">
                <a:solidFill>
                  <a:schemeClr val="tx1"/>
                </a:solidFill>
                <a:latin typeface="+mn-lt"/>
                <a:ea typeface="+mn-ea"/>
                <a:cs typeface="+mn-cs"/>
              </a:rPr>
              <a:t>, Frank, Hall y Pal, 2017, p. 6)</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Aprendizaje de máquina (Mitchell, 1997, p. 1)</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Ciencia de datos (</a:t>
            </a:r>
            <a:r>
              <a:rPr lang="es-419" sz="1200" b="0" i="0" u="none" strike="noStrike" kern="1200" baseline="0" dirty="0" err="1">
                <a:solidFill>
                  <a:schemeClr val="tx1"/>
                </a:solidFill>
                <a:latin typeface="+mn-lt"/>
                <a:ea typeface="+mn-ea"/>
                <a:cs typeface="+mn-cs"/>
              </a:rPr>
              <a:t>Gollapudi</a:t>
            </a:r>
            <a:r>
              <a:rPr lang="es-419" sz="1200" b="0" i="0" u="none" strike="noStrike" kern="1200" baseline="0" dirty="0">
                <a:solidFill>
                  <a:schemeClr val="tx1"/>
                </a:solidFill>
                <a:latin typeface="+mn-lt"/>
                <a:ea typeface="+mn-ea"/>
                <a:cs typeface="+mn-cs"/>
              </a:rPr>
              <a:t>, 2016, pp. 30-3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419"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419" sz="1200" b="0" i="0" u="none" strike="noStrike" kern="1200" baseline="0" dirty="0">
                <a:solidFill>
                  <a:schemeClr val="tx1"/>
                </a:solidFill>
                <a:latin typeface="+mn-lt"/>
                <a:ea typeface="+mn-ea"/>
                <a:cs typeface="+mn-cs"/>
              </a:rPr>
              <a:t>La Ciencia de datos puede definirse como la transformación de datos usando matemáticas y estadística en decisiones y productos de valor para los negocios (</a:t>
            </a:r>
            <a:r>
              <a:rPr lang="es-419" sz="1200" b="0" i="0" u="none" strike="noStrike" kern="1200" baseline="0" dirty="0" err="1">
                <a:solidFill>
                  <a:schemeClr val="tx1"/>
                </a:solidFill>
                <a:latin typeface="+mn-lt"/>
                <a:ea typeface="+mn-ea"/>
                <a:cs typeface="+mn-cs"/>
              </a:rPr>
              <a:t>Foreman</a:t>
            </a:r>
            <a:r>
              <a:rPr lang="es-419" sz="1200" b="0" i="0" u="none" strike="noStrike" kern="1200" baseline="0" dirty="0">
                <a:solidFill>
                  <a:schemeClr val="tx1"/>
                </a:solidFill>
                <a:latin typeface="+mn-lt"/>
                <a:ea typeface="+mn-ea"/>
                <a:cs typeface="+mn-cs"/>
              </a:rPr>
              <a:t>, 2013)</a:t>
            </a:r>
          </a:p>
        </p:txBody>
      </p:sp>
      <p:sp>
        <p:nvSpPr>
          <p:cNvPr id="4" name="Marcador de número de diapositiva 3"/>
          <p:cNvSpPr>
            <a:spLocks noGrp="1"/>
          </p:cNvSpPr>
          <p:nvPr>
            <p:ph type="sldNum" sz="quarter" idx="10"/>
          </p:nvPr>
        </p:nvSpPr>
        <p:spPr/>
        <p:txBody>
          <a:bodyPr/>
          <a:lstStyle/>
          <a:p>
            <a:fld id="{F705D989-A34E-49C9-800F-7A0EDF49A7B3}" type="slidenum">
              <a:rPr lang="es-CO" smtClean="0"/>
              <a:t>8</a:t>
            </a:fld>
            <a:endParaRPr lang="es-CO"/>
          </a:p>
        </p:txBody>
      </p:sp>
    </p:spTree>
    <p:extLst>
      <p:ext uri="{BB962C8B-B14F-4D97-AF65-F5344CB8AC3E}">
        <p14:creationId xmlns:p14="http://schemas.microsoft.com/office/powerpoint/2010/main" val="42692526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O" sz="1200" dirty="0">
                <a:solidFill>
                  <a:srgbClr val="5F5F5F"/>
                </a:solidFill>
              </a:rPr>
              <a:t>Refer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O" sz="1200" dirty="0">
              <a:solidFill>
                <a:srgbClr val="5F5F5F"/>
              </a:solidFil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Minería de datos (</a:t>
            </a:r>
            <a:r>
              <a:rPr lang="es-419" sz="1200" b="0" i="0" u="none" strike="noStrike" kern="1200" baseline="0" dirty="0" err="1">
                <a:solidFill>
                  <a:schemeClr val="tx1"/>
                </a:solidFill>
                <a:latin typeface="+mn-lt"/>
                <a:ea typeface="+mn-ea"/>
                <a:cs typeface="+mn-cs"/>
              </a:rPr>
              <a:t>Witten</a:t>
            </a:r>
            <a:r>
              <a:rPr lang="es-419" sz="1200" b="0" i="0" u="none" strike="noStrike" kern="1200" baseline="0" dirty="0">
                <a:solidFill>
                  <a:schemeClr val="tx1"/>
                </a:solidFill>
                <a:latin typeface="+mn-lt"/>
                <a:ea typeface="+mn-ea"/>
                <a:cs typeface="+mn-cs"/>
              </a:rPr>
              <a:t>, Frank, Hall y Pal, 2017, p. 6)</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Aprendizaje de máquina (Mitchell, 1997, p. 1)</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419" sz="1200" b="0" i="0" u="none" strike="noStrike" kern="1200" baseline="0" dirty="0">
                <a:solidFill>
                  <a:schemeClr val="tx1"/>
                </a:solidFill>
                <a:latin typeface="+mn-lt"/>
                <a:ea typeface="+mn-ea"/>
                <a:cs typeface="+mn-cs"/>
              </a:rPr>
              <a:t>Ciencia de datos (</a:t>
            </a:r>
            <a:r>
              <a:rPr lang="es-419" sz="1200" b="0" i="0" u="none" strike="noStrike" kern="1200" baseline="0" dirty="0" err="1">
                <a:solidFill>
                  <a:schemeClr val="tx1"/>
                </a:solidFill>
                <a:latin typeface="+mn-lt"/>
                <a:ea typeface="+mn-ea"/>
                <a:cs typeface="+mn-cs"/>
              </a:rPr>
              <a:t>Gollapudi</a:t>
            </a:r>
            <a:r>
              <a:rPr lang="es-419" sz="1200" b="0" i="0" u="none" strike="noStrike" kern="1200" baseline="0" dirty="0">
                <a:solidFill>
                  <a:schemeClr val="tx1"/>
                </a:solidFill>
                <a:latin typeface="+mn-lt"/>
                <a:ea typeface="+mn-ea"/>
                <a:cs typeface="+mn-cs"/>
              </a:rPr>
              <a:t>, 2016, pp. 30-3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419"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419" sz="1200" b="0" i="0" u="none" strike="noStrike" kern="1200" baseline="0" dirty="0">
                <a:solidFill>
                  <a:schemeClr val="tx1"/>
                </a:solidFill>
                <a:latin typeface="+mn-lt"/>
                <a:ea typeface="+mn-ea"/>
                <a:cs typeface="+mn-cs"/>
              </a:rPr>
              <a:t>La Ciencia de datos puede definirse como la transformación de datos usando matemáticas y estadística en decisiones y productos de valor para los negocios (</a:t>
            </a:r>
            <a:r>
              <a:rPr lang="es-419" sz="1200" b="0" i="0" u="none" strike="noStrike" kern="1200" baseline="0" dirty="0" err="1">
                <a:solidFill>
                  <a:schemeClr val="tx1"/>
                </a:solidFill>
                <a:latin typeface="+mn-lt"/>
                <a:ea typeface="+mn-ea"/>
                <a:cs typeface="+mn-cs"/>
              </a:rPr>
              <a:t>Foreman</a:t>
            </a:r>
            <a:r>
              <a:rPr lang="es-419" sz="1200" b="0" i="0" u="none" strike="noStrike" kern="1200" baseline="0" dirty="0">
                <a:solidFill>
                  <a:schemeClr val="tx1"/>
                </a:solidFill>
                <a:latin typeface="+mn-lt"/>
                <a:ea typeface="+mn-ea"/>
                <a:cs typeface="+mn-cs"/>
              </a:rPr>
              <a:t>, 2013)</a:t>
            </a:r>
          </a:p>
        </p:txBody>
      </p:sp>
      <p:sp>
        <p:nvSpPr>
          <p:cNvPr id="4" name="Marcador de número de diapositiva 3"/>
          <p:cNvSpPr>
            <a:spLocks noGrp="1"/>
          </p:cNvSpPr>
          <p:nvPr>
            <p:ph type="sldNum" sz="quarter" idx="10"/>
          </p:nvPr>
        </p:nvSpPr>
        <p:spPr/>
        <p:txBody>
          <a:bodyPr/>
          <a:lstStyle/>
          <a:p>
            <a:fld id="{F705D989-A34E-49C9-800F-7A0EDF49A7B3}" type="slidenum">
              <a:rPr lang="es-CO" smtClean="0"/>
              <a:t>9</a:t>
            </a:fld>
            <a:endParaRPr lang="es-CO"/>
          </a:p>
        </p:txBody>
      </p:sp>
    </p:spTree>
    <p:extLst>
      <p:ext uri="{BB962C8B-B14F-4D97-AF65-F5344CB8AC3E}">
        <p14:creationId xmlns:p14="http://schemas.microsoft.com/office/powerpoint/2010/main" val="37588455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9.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8.jpeg"/><Relationship Id="rId5" Type="http://schemas.openxmlformats.org/officeDocument/2006/relationships/image" Target="../media/image17.emf"/><Relationship Id="rId4" Type="http://schemas.openxmlformats.org/officeDocument/2006/relationships/oleObject" Target="../embeddings/oleObject1.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8.jpeg"/><Relationship Id="rId5" Type="http://schemas.openxmlformats.org/officeDocument/2006/relationships/image" Target="../media/image17.emf"/><Relationship Id="rId4" Type="http://schemas.openxmlformats.org/officeDocument/2006/relationships/oleObject" Target="../embeddings/oleObject3.bin"/></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ulo">
    <p:spTree>
      <p:nvGrpSpPr>
        <p:cNvPr id="1" name=""/>
        <p:cNvGrpSpPr/>
        <p:nvPr/>
      </p:nvGrpSpPr>
      <p:grpSpPr>
        <a:xfrm>
          <a:off x="0" y="0"/>
          <a:ext cx="0" cy="0"/>
          <a:chOff x="0" y="0"/>
          <a:chExt cx="0" cy="0"/>
        </a:xfrm>
      </p:grpSpPr>
      <p:sp>
        <p:nvSpPr>
          <p:cNvPr id="10" name="9 Rectángulo"/>
          <p:cNvSpPr/>
          <p:nvPr/>
        </p:nvSpPr>
        <p:spPr>
          <a:xfrm>
            <a:off x="10255409" y="6047755"/>
            <a:ext cx="1936593" cy="8102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anchor="ctr"/>
          <a:lstStyle/>
          <a:p>
            <a:pPr algn="ctr">
              <a:defRPr/>
            </a:pPr>
            <a:endParaRPr lang="es-CO" sz="1351">
              <a:solidFill>
                <a:srgbClr val="2C2C2C"/>
              </a:solidFill>
            </a:endParaRPr>
          </a:p>
        </p:txBody>
      </p:sp>
      <p:pic>
        <p:nvPicPr>
          <p:cNvPr id="3" name="Picture 12" descr="CARATULA"/>
          <p:cNvPicPr>
            <a:picLocks noChangeAspect="1" noChangeArrowheads="1"/>
          </p:cNvPicPr>
          <p:nvPr/>
        </p:nvPicPr>
        <p:blipFill>
          <a:blip r:embed="rId2" cstate="email"/>
          <a:srcRect/>
          <a:stretch>
            <a:fillRect/>
          </a:stretch>
        </p:blipFill>
        <p:spPr bwMode="auto">
          <a:xfrm>
            <a:off x="3" y="1425548"/>
            <a:ext cx="11866033" cy="4791075"/>
          </a:xfrm>
          <a:prstGeom prst="rect">
            <a:avLst/>
          </a:prstGeom>
          <a:noFill/>
          <a:ln w="9525">
            <a:noFill/>
            <a:miter lim="800000"/>
            <a:headEnd/>
            <a:tailEnd/>
          </a:ln>
        </p:spPr>
      </p:pic>
      <p:sp>
        <p:nvSpPr>
          <p:cNvPr id="5" name="4 Rectángulo"/>
          <p:cNvSpPr/>
          <p:nvPr/>
        </p:nvSpPr>
        <p:spPr>
          <a:xfrm>
            <a:off x="11095830" y="481454"/>
            <a:ext cx="571504" cy="2465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anchor="ctr"/>
          <a:lstStyle/>
          <a:p>
            <a:pPr algn="ctr">
              <a:defRPr/>
            </a:pPr>
            <a:endParaRPr lang="es-CO" sz="1351">
              <a:solidFill>
                <a:srgbClr val="2C2C2C"/>
              </a:solidFill>
            </a:endParaRPr>
          </a:p>
        </p:txBody>
      </p:sp>
      <p:sp>
        <p:nvSpPr>
          <p:cNvPr id="7" name="6 Título"/>
          <p:cNvSpPr>
            <a:spLocks noGrp="1"/>
          </p:cNvSpPr>
          <p:nvPr>
            <p:ph type="title"/>
          </p:nvPr>
        </p:nvSpPr>
        <p:spPr>
          <a:xfrm>
            <a:off x="6572253" y="2814149"/>
            <a:ext cx="5010147" cy="785818"/>
          </a:xfrm>
          <a:prstGeom prst="rect">
            <a:avLst/>
          </a:prstGeom>
        </p:spPr>
        <p:txBody>
          <a:bodyPr lIns="121784" tIns="60891" rIns="121784" bIns="60891" anchor="ctr"/>
          <a:lstStyle>
            <a:lvl1pPr algn="r">
              <a:lnSpc>
                <a:spcPts val="4400"/>
              </a:lnSpc>
              <a:spcBef>
                <a:spcPts val="0"/>
              </a:spcBef>
              <a:defRPr sz="4805">
                <a:solidFill>
                  <a:schemeClr val="accent6"/>
                </a:solidFill>
                <a:effectLst/>
              </a:defRPr>
            </a:lvl1pPr>
          </a:lstStyle>
          <a:p>
            <a:r>
              <a:rPr lang="es-ES"/>
              <a:t>Haga clic para modificar el estilo de título del patrón</a:t>
            </a:r>
            <a:endParaRPr lang="es-CO"/>
          </a:p>
        </p:txBody>
      </p:sp>
    </p:spTree>
    <p:extLst>
      <p:ext uri="{BB962C8B-B14F-4D97-AF65-F5344CB8AC3E}">
        <p14:creationId xmlns:p14="http://schemas.microsoft.com/office/powerpoint/2010/main" val="28406765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parador1">
    <p:spTree>
      <p:nvGrpSpPr>
        <p:cNvPr id="1" name=""/>
        <p:cNvGrpSpPr/>
        <p:nvPr/>
      </p:nvGrpSpPr>
      <p:grpSpPr>
        <a:xfrm>
          <a:off x="0" y="0"/>
          <a:ext cx="0" cy="0"/>
          <a:chOff x="0" y="0"/>
          <a:chExt cx="0" cy="0"/>
        </a:xfrm>
      </p:grpSpPr>
      <p:pic>
        <p:nvPicPr>
          <p:cNvPr id="6" name="5 Imagen" descr="acerca de EPM 1.JPG"/>
          <p:cNvPicPr>
            <a:picLocks noChangeAspect="1"/>
          </p:cNvPicPr>
          <p:nvPr/>
        </p:nvPicPr>
        <p:blipFill>
          <a:blip r:embed="rId2" cstate="email"/>
          <a:stretch>
            <a:fillRect/>
          </a:stretch>
        </p:blipFill>
        <p:spPr>
          <a:xfrm>
            <a:off x="-1" y="0"/>
            <a:ext cx="12192001" cy="6858000"/>
          </a:xfrm>
          <a:prstGeom prst="rect">
            <a:avLst/>
          </a:prstGeom>
        </p:spPr>
      </p:pic>
    </p:spTree>
    <p:extLst>
      <p:ext uri="{BB962C8B-B14F-4D97-AF65-F5344CB8AC3E}">
        <p14:creationId xmlns:p14="http://schemas.microsoft.com/office/powerpoint/2010/main" val="28212119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eparador2">
    <p:spTree>
      <p:nvGrpSpPr>
        <p:cNvPr id="1" name=""/>
        <p:cNvGrpSpPr/>
        <p:nvPr/>
      </p:nvGrpSpPr>
      <p:grpSpPr>
        <a:xfrm>
          <a:off x="0" y="0"/>
          <a:ext cx="0" cy="0"/>
          <a:chOff x="0" y="0"/>
          <a:chExt cx="0" cy="0"/>
        </a:xfrm>
      </p:grpSpPr>
      <p:pic>
        <p:nvPicPr>
          <p:cNvPr id="3" name="2 Imagen" descr="acerca de EPM.JPG"/>
          <p:cNvPicPr>
            <a:picLocks noChangeAspect="1"/>
          </p:cNvPicPr>
          <p:nvPr/>
        </p:nvPicPr>
        <p:blipFill>
          <a:blip r:embed="rId2" cstate="email"/>
          <a:stretch>
            <a:fillRect/>
          </a:stretch>
        </p:blipFill>
        <p:spPr>
          <a:xfrm>
            <a:off x="1525" y="0"/>
            <a:ext cx="12190476" cy="6858000"/>
          </a:xfrm>
          <a:prstGeom prst="rect">
            <a:avLst/>
          </a:prstGeom>
        </p:spPr>
      </p:pic>
    </p:spTree>
    <p:extLst>
      <p:ext uri="{BB962C8B-B14F-4D97-AF65-F5344CB8AC3E}">
        <p14:creationId xmlns:p14="http://schemas.microsoft.com/office/powerpoint/2010/main" val="611460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_Diseño personalizado">
    <p:spTree>
      <p:nvGrpSpPr>
        <p:cNvPr id="1" name=""/>
        <p:cNvGrpSpPr/>
        <p:nvPr/>
      </p:nvGrpSpPr>
      <p:grpSpPr>
        <a:xfrm>
          <a:off x="0" y="0"/>
          <a:ext cx="0" cy="0"/>
          <a:chOff x="0" y="0"/>
          <a:chExt cx="0" cy="0"/>
        </a:xfrm>
      </p:grpSpPr>
      <p:pic>
        <p:nvPicPr>
          <p:cNvPr id="4" name="3 Imagen" descr="acerca de EPM 3.JPG"/>
          <p:cNvPicPr>
            <a:picLocks noChangeAspect="1"/>
          </p:cNvPicPr>
          <p:nvPr/>
        </p:nvPicPr>
        <p:blipFill>
          <a:blip r:embed="rId2" cstate="email"/>
          <a:stretch>
            <a:fillRect/>
          </a:stretch>
        </p:blipFill>
        <p:spPr>
          <a:xfrm>
            <a:off x="4411" y="0"/>
            <a:ext cx="12187589" cy="6858000"/>
          </a:xfrm>
          <a:prstGeom prst="rect">
            <a:avLst/>
          </a:prstGeom>
        </p:spPr>
      </p:pic>
    </p:spTree>
    <p:extLst>
      <p:ext uri="{BB962C8B-B14F-4D97-AF65-F5344CB8AC3E}">
        <p14:creationId xmlns:p14="http://schemas.microsoft.com/office/powerpoint/2010/main" val="2530059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parador3">
    <p:spTree>
      <p:nvGrpSpPr>
        <p:cNvPr id="1" name=""/>
        <p:cNvGrpSpPr/>
        <p:nvPr/>
      </p:nvGrpSpPr>
      <p:grpSpPr>
        <a:xfrm>
          <a:off x="0" y="0"/>
          <a:ext cx="0" cy="0"/>
          <a:chOff x="0" y="0"/>
          <a:chExt cx="0" cy="0"/>
        </a:xfrm>
      </p:grpSpPr>
      <p:pic>
        <p:nvPicPr>
          <p:cNvPr id="4" name="3 Imagen" descr="acerca de EPM 4.JPG"/>
          <p:cNvPicPr>
            <a:picLocks noChangeAspect="1"/>
          </p:cNvPicPr>
          <p:nvPr/>
        </p:nvPicPr>
        <p:blipFill>
          <a:blip r:embed="rId2" cstate="email"/>
          <a:stretch>
            <a:fillRect/>
          </a:stretch>
        </p:blipFill>
        <p:spPr>
          <a:xfrm>
            <a:off x="509" y="0"/>
            <a:ext cx="12191492" cy="6858000"/>
          </a:xfrm>
          <a:prstGeom prst="rect">
            <a:avLst/>
          </a:prstGeom>
        </p:spPr>
      </p:pic>
    </p:spTree>
    <p:extLst>
      <p:ext uri="{BB962C8B-B14F-4D97-AF65-F5344CB8AC3E}">
        <p14:creationId xmlns:p14="http://schemas.microsoft.com/office/powerpoint/2010/main" val="29239954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seño personalizado">
    <p:spTree>
      <p:nvGrpSpPr>
        <p:cNvPr id="1" name=""/>
        <p:cNvGrpSpPr/>
        <p:nvPr/>
      </p:nvGrpSpPr>
      <p:grpSpPr>
        <a:xfrm>
          <a:off x="0" y="0"/>
          <a:ext cx="0" cy="0"/>
          <a:chOff x="0" y="0"/>
          <a:chExt cx="0" cy="0"/>
        </a:xfrm>
      </p:grpSpPr>
      <p:pic>
        <p:nvPicPr>
          <p:cNvPr id="4" name="3 Imagen" descr="acerca de EPM 5.JPG"/>
          <p:cNvPicPr>
            <a:picLocks noChangeAspect="1"/>
          </p:cNvPicPr>
          <p:nvPr/>
        </p:nvPicPr>
        <p:blipFill>
          <a:blip r:embed="rId2" cstate="email"/>
          <a:stretch>
            <a:fillRect/>
          </a:stretch>
        </p:blipFill>
        <p:spPr>
          <a:xfrm>
            <a:off x="-1989" y="3274"/>
            <a:ext cx="12193989" cy="6829425"/>
          </a:xfrm>
          <a:prstGeom prst="rect">
            <a:avLst/>
          </a:prstGeom>
        </p:spPr>
      </p:pic>
    </p:spTree>
    <p:extLst>
      <p:ext uri="{BB962C8B-B14F-4D97-AF65-F5344CB8AC3E}">
        <p14:creationId xmlns:p14="http://schemas.microsoft.com/office/powerpoint/2010/main" val="24830082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Diseño personalizado">
    <p:spTree>
      <p:nvGrpSpPr>
        <p:cNvPr id="1" name=""/>
        <p:cNvGrpSpPr/>
        <p:nvPr/>
      </p:nvGrpSpPr>
      <p:grpSpPr>
        <a:xfrm>
          <a:off x="0" y="0"/>
          <a:ext cx="0" cy="0"/>
          <a:chOff x="0" y="0"/>
          <a:chExt cx="0" cy="0"/>
        </a:xfrm>
      </p:grpSpPr>
      <p:pic>
        <p:nvPicPr>
          <p:cNvPr id="4" name="3 Imagen" descr="acerca de EPM 6.JPG"/>
          <p:cNvPicPr>
            <a:picLocks noChangeAspect="1"/>
          </p:cNvPicPr>
          <p:nvPr/>
        </p:nvPicPr>
        <p:blipFill>
          <a:blip r:embed="rId2" cstate="email"/>
          <a:stretch>
            <a:fillRect/>
          </a:stretch>
        </p:blipFill>
        <p:spPr>
          <a:xfrm>
            <a:off x="770" y="0"/>
            <a:ext cx="12191233" cy="6858000"/>
          </a:xfrm>
          <a:prstGeom prst="rect">
            <a:avLst/>
          </a:prstGeom>
        </p:spPr>
      </p:pic>
    </p:spTree>
    <p:extLst>
      <p:ext uri="{BB962C8B-B14F-4D97-AF65-F5344CB8AC3E}">
        <p14:creationId xmlns:p14="http://schemas.microsoft.com/office/powerpoint/2010/main" val="11956580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Diseño personalizado">
    <p:spTree>
      <p:nvGrpSpPr>
        <p:cNvPr id="1" name=""/>
        <p:cNvGrpSpPr/>
        <p:nvPr/>
      </p:nvGrpSpPr>
      <p:grpSpPr>
        <a:xfrm>
          <a:off x="0" y="0"/>
          <a:ext cx="0" cy="0"/>
          <a:chOff x="0" y="0"/>
          <a:chExt cx="0" cy="0"/>
        </a:xfrm>
      </p:grpSpPr>
      <p:pic>
        <p:nvPicPr>
          <p:cNvPr id="4" name="3 Imagen" descr="acerca de EPM 7.JPG"/>
          <p:cNvPicPr>
            <a:picLocks noChangeAspect="1"/>
          </p:cNvPicPr>
          <p:nvPr/>
        </p:nvPicPr>
        <p:blipFill>
          <a:blip r:embed="rId2" cstate="email"/>
          <a:stretch>
            <a:fillRect/>
          </a:stretch>
        </p:blipFill>
        <p:spPr>
          <a:xfrm>
            <a:off x="-17526" y="0"/>
            <a:ext cx="12209526" cy="6858000"/>
          </a:xfrm>
          <a:prstGeom prst="rect">
            <a:avLst/>
          </a:prstGeom>
        </p:spPr>
      </p:pic>
    </p:spTree>
    <p:extLst>
      <p:ext uri="{BB962C8B-B14F-4D97-AF65-F5344CB8AC3E}">
        <p14:creationId xmlns:p14="http://schemas.microsoft.com/office/powerpoint/2010/main" val="24535333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apitulo">
    <p:spTree>
      <p:nvGrpSpPr>
        <p:cNvPr id="1" name=""/>
        <p:cNvGrpSpPr/>
        <p:nvPr/>
      </p:nvGrpSpPr>
      <p:grpSpPr>
        <a:xfrm>
          <a:off x="0" y="0"/>
          <a:ext cx="0" cy="0"/>
          <a:chOff x="0" y="0"/>
          <a:chExt cx="0" cy="0"/>
        </a:xfrm>
      </p:grpSpPr>
      <p:sp>
        <p:nvSpPr>
          <p:cNvPr id="5" name="4 Rectángulo"/>
          <p:cNvSpPr/>
          <p:nvPr/>
        </p:nvSpPr>
        <p:spPr>
          <a:xfrm>
            <a:off x="11095830" y="481454"/>
            <a:ext cx="571504" cy="2465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anchor="ctr"/>
          <a:lstStyle/>
          <a:p>
            <a:pPr algn="ctr">
              <a:defRPr/>
            </a:pPr>
            <a:endParaRPr lang="es-CO" sz="1351">
              <a:solidFill>
                <a:srgbClr val="2C2C2C"/>
              </a:solidFill>
            </a:endParaRPr>
          </a:p>
        </p:txBody>
      </p:sp>
      <p:pic>
        <p:nvPicPr>
          <p:cNvPr id="8" name="7 Imagen" descr="acerca de EPM 8.JPG"/>
          <p:cNvPicPr>
            <a:picLocks noChangeAspect="1"/>
          </p:cNvPicPr>
          <p:nvPr/>
        </p:nvPicPr>
        <p:blipFill>
          <a:blip r:embed="rId2" cstate="email"/>
          <a:stretch>
            <a:fillRect/>
          </a:stretch>
        </p:blipFill>
        <p:spPr>
          <a:xfrm>
            <a:off x="2" y="2"/>
            <a:ext cx="12141200" cy="6848475"/>
          </a:xfrm>
          <a:prstGeom prst="rect">
            <a:avLst/>
          </a:prstGeom>
        </p:spPr>
      </p:pic>
    </p:spTree>
    <p:extLst>
      <p:ext uri="{BB962C8B-B14F-4D97-AF65-F5344CB8AC3E}">
        <p14:creationId xmlns:p14="http://schemas.microsoft.com/office/powerpoint/2010/main" val="10977723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914403" y="2130428"/>
            <a:ext cx="10363200" cy="1470025"/>
          </a:xfrm>
          <a:prstGeom prst="rect">
            <a:avLst/>
          </a:prstGeom>
        </p:spPr>
        <p:txBody>
          <a:bodyPr lIns="91423" tIns="45711" rIns="91423" bIns="45711"/>
          <a:lstStyle/>
          <a:p>
            <a:r>
              <a:rPr lang="es-ES"/>
              <a:t>Haga clic para modificar el estilo de título del patrón</a:t>
            </a:r>
            <a:endParaRPr lang="es-CO"/>
          </a:p>
        </p:txBody>
      </p:sp>
      <p:sp>
        <p:nvSpPr>
          <p:cNvPr id="3" name="2 Subtítulo"/>
          <p:cNvSpPr>
            <a:spLocks noGrp="1"/>
          </p:cNvSpPr>
          <p:nvPr>
            <p:ph type="subTitle" idx="1"/>
          </p:nvPr>
        </p:nvSpPr>
        <p:spPr>
          <a:xfrm>
            <a:off x="1828800" y="3886200"/>
            <a:ext cx="8534400" cy="1752600"/>
          </a:xfrm>
          <a:prstGeom prst="rect">
            <a:avLst/>
          </a:prstGeom>
        </p:spPr>
        <p:txBody>
          <a:bodyPr lIns="91423" tIns="45711" rIns="91423" bIns="45711"/>
          <a:lstStyle>
            <a:lvl1pPr marL="0" indent="0" algn="ctr">
              <a:buNone/>
              <a:defRPr>
                <a:solidFill>
                  <a:schemeClr val="tx1">
                    <a:tint val="75000"/>
                  </a:schemeClr>
                </a:solidFill>
              </a:defRPr>
            </a:lvl1pPr>
            <a:lvl2pPr marL="457111" indent="0" algn="ctr">
              <a:buNone/>
              <a:defRPr>
                <a:solidFill>
                  <a:schemeClr val="tx1">
                    <a:tint val="75000"/>
                  </a:schemeClr>
                </a:solidFill>
              </a:defRPr>
            </a:lvl2pPr>
            <a:lvl3pPr marL="914221" indent="0" algn="ctr">
              <a:buNone/>
              <a:defRPr>
                <a:solidFill>
                  <a:schemeClr val="tx1">
                    <a:tint val="75000"/>
                  </a:schemeClr>
                </a:solidFill>
              </a:defRPr>
            </a:lvl3pPr>
            <a:lvl4pPr marL="1371331" indent="0" algn="ctr">
              <a:buNone/>
              <a:defRPr>
                <a:solidFill>
                  <a:schemeClr val="tx1">
                    <a:tint val="75000"/>
                  </a:schemeClr>
                </a:solidFill>
              </a:defRPr>
            </a:lvl4pPr>
            <a:lvl5pPr marL="1828441" indent="0" algn="ctr">
              <a:buNone/>
              <a:defRPr>
                <a:solidFill>
                  <a:schemeClr val="tx1">
                    <a:tint val="75000"/>
                  </a:schemeClr>
                </a:solidFill>
              </a:defRPr>
            </a:lvl5pPr>
            <a:lvl6pPr marL="2285552" indent="0" algn="ctr">
              <a:buNone/>
              <a:defRPr>
                <a:solidFill>
                  <a:schemeClr val="tx1">
                    <a:tint val="75000"/>
                  </a:schemeClr>
                </a:solidFill>
              </a:defRPr>
            </a:lvl6pPr>
            <a:lvl7pPr marL="2742662" indent="0" algn="ctr">
              <a:buNone/>
              <a:defRPr>
                <a:solidFill>
                  <a:schemeClr val="tx1">
                    <a:tint val="75000"/>
                  </a:schemeClr>
                </a:solidFill>
              </a:defRPr>
            </a:lvl7pPr>
            <a:lvl8pPr marL="3199773" indent="0" algn="ctr">
              <a:buNone/>
              <a:defRPr>
                <a:solidFill>
                  <a:schemeClr val="tx1">
                    <a:tint val="75000"/>
                  </a:schemeClr>
                </a:solidFill>
              </a:defRPr>
            </a:lvl8pPr>
            <a:lvl9pPr marL="3656883" indent="0" algn="ctr">
              <a:buNone/>
              <a:defRPr>
                <a:solidFill>
                  <a:schemeClr val="tx1">
                    <a:tint val="75000"/>
                  </a:schemeClr>
                </a:solidFill>
              </a:defRPr>
            </a:lvl9pPr>
          </a:lstStyle>
          <a:p>
            <a:r>
              <a:rPr lang="es-ES"/>
              <a:t>Haga clic para modificar el estilo de subtítulo del patrón</a:t>
            </a:r>
            <a:endParaRPr lang="es-CO"/>
          </a:p>
        </p:txBody>
      </p:sp>
      <p:sp>
        <p:nvSpPr>
          <p:cNvPr id="4" name="3 Marcador de fecha"/>
          <p:cNvSpPr>
            <a:spLocks noGrp="1"/>
          </p:cNvSpPr>
          <p:nvPr>
            <p:ph type="dt" sz="half" idx="10"/>
          </p:nvPr>
        </p:nvSpPr>
        <p:spPr>
          <a:xfrm>
            <a:off x="609602" y="6356354"/>
            <a:ext cx="2844800" cy="365125"/>
          </a:xfrm>
          <a:prstGeom prst="rect">
            <a:avLst/>
          </a:prstGeom>
        </p:spPr>
        <p:txBody>
          <a:bodyPr lIns="91423" tIns="45711" rIns="91423" bIns="45711"/>
          <a:lstStyle/>
          <a:p>
            <a:fld id="{6102682D-981F-4EAF-8B85-0ABBAD2089A0}" type="datetimeFigureOut">
              <a:rPr lang="es-CO" smtClean="0"/>
              <a:pPr/>
              <a:t>18/07/2024</a:t>
            </a:fld>
            <a:endParaRPr lang="es-CO"/>
          </a:p>
        </p:txBody>
      </p:sp>
      <p:sp>
        <p:nvSpPr>
          <p:cNvPr id="5" name="4 Marcador de pie de página"/>
          <p:cNvSpPr>
            <a:spLocks noGrp="1"/>
          </p:cNvSpPr>
          <p:nvPr>
            <p:ph type="ftr" sz="quarter" idx="11"/>
          </p:nvPr>
        </p:nvSpPr>
        <p:spPr>
          <a:xfrm>
            <a:off x="4165600" y="6356354"/>
            <a:ext cx="3860800" cy="365125"/>
          </a:xfrm>
          <a:prstGeom prst="rect">
            <a:avLst/>
          </a:prstGeom>
        </p:spPr>
        <p:txBody>
          <a:bodyPr lIns="91423" tIns="45711" rIns="91423" bIns="45711"/>
          <a:lstStyle/>
          <a:p>
            <a:endParaRPr lang="es-CO"/>
          </a:p>
        </p:txBody>
      </p:sp>
      <p:sp>
        <p:nvSpPr>
          <p:cNvPr id="6" name="5 Marcador de número de diapositiva"/>
          <p:cNvSpPr>
            <a:spLocks noGrp="1"/>
          </p:cNvSpPr>
          <p:nvPr>
            <p:ph type="sldNum" sz="quarter" idx="12"/>
          </p:nvPr>
        </p:nvSpPr>
        <p:spPr>
          <a:xfrm>
            <a:off x="8737600" y="6356354"/>
            <a:ext cx="2844800" cy="365125"/>
          </a:xfrm>
          <a:prstGeom prst="rect">
            <a:avLst/>
          </a:prstGeom>
        </p:spPr>
        <p:txBody>
          <a:bodyPr lIns="91423" tIns="45711" rIns="91423" bIns="45711"/>
          <a:lstStyle/>
          <a:p>
            <a:fld id="{67FF3989-745B-48C1-97D5-1E1D4E03331D}" type="slidenum">
              <a:rPr lang="es-CO" smtClean="0"/>
              <a:pPr/>
              <a:t>‹Nº›</a:t>
            </a:fld>
            <a:endParaRPr lang="es-CO"/>
          </a:p>
        </p:txBody>
      </p:sp>
    </p:spTree>
    <p:extLst>
      <p:ext uri="{BB962C8B-B14F-4D97-AF65-F5344CB8AC3E}">
        <p14:creationId xmlns:p14="http://schemas.microsoft.com/office/powerpoint/2010/main" val="28063757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609600" y="274638"/>
            <a:ext cx="10972800" cy="1143000"/>
          </a:xfrm>
          <a:prstGeom prst="rect">
            <a:avLst/>
          </a:prstGeom>
        </p:spPr>
        <p:txBody>
          <a:bodyPr lIns="121784" tIns="60891" rIns="121784" bIns="60891"/>
          <a:lstStyle/>
          <a:p>
            <a:r>
              <a:rPr lang="es-ES"/>
              <a:t>Haga clic para modificar el estilo de título del patrón</a:t>
            </a:r>
          </a:p>
        </p:txBody>
      </p:sp>
      <p:sp>
        <p:nvSpPr>
          <p:cNvPr id="3" name="Rectangle 4"/>
          <p:cNvSpPr>
            <a:spLocks noGrp="1" noChangeArrowheads="1"/>
          </p:cNvSpPr>
          <p:nvPr>
            <p:ph type="dt" sz="half" idx="10"/>
          </p:nvPr>
        </p:nvSpPr>
        <p:spPr>
          <a:xfrm>
            <a:off x="609602" y="6245226"/>
            <a:ext cx="2844800" cy="476250"/>
          </a:xfrm>
          <a:prstGeom prst="rect">
            <a:avLst/>
          </a:prstGeom>
          <a:ln/>
        </p:spPr>
        <p:txBody>
          <a:bodyPr lIns="121784" tIns="60891" rIns="121784" bIns="60891"/>
          <a:lstStyle>
            <a:lvl1pPr>
              <a:defRPr/>
            </a:lvl1pPr>
          </a:lstStyle>
          <a:p>
            <a:fld id="{6102682D-981F-4EAF-8B85-0ABBAD2089A0}" type="datetimeFigureOut">
              <a:rPr lang="es-CO" smtClean="0"/>
              <a:pPr/>
              <a:t>18/07/2024</a:t>
            </a:fld>
            <a:endParaRPr lang="es-CO"/>
          </a:p>
        </p:txBody>
      </p:sp>
      <p:sp>
        <p:nvSpPr>
          <p:cNvPr id="4" name="Rectangle 5"/>
          <p:cNvSpPr>
            <a:spLocks noGrp="1" noChangeArrowheads="1"/>
          </p:cNvSpPr>
          <p:nvPr>
            <p:ph type="ftr" sz="quarter" idx="11"/>
          </p:nvPr>
        </p:nvSpPr>
        <p:spPr>
          <a:xfrm>
            <a:off x="4165600" y="6245226"/>
            <a:ext cx="3860800" cy="476250"/>
          </a:xfrm>
          <a:prstGeom prst="rect">
            <a:avLst/>
          </a:prstGeom>
          <a:ln/>
        </p:spPr>
        <p:txBody>
          <a:bodyPr lIns="121784" tIns="60891" rIns="121784" bIns="60891"/>
          <a:lstStyle>
            <a:lvl1pPr>
              <a:defRPr/>
            </a:lvl1pPr>
          </a:lstStyle>
          <a:p>
            <a:endParaRPr lang="es-CO"/>
          </a:p>
        </p:txBody>
      </p:sp>
      <p:sp>
        <p:nvSpPr>
          <p:cNvPr id="5" name="Rectangle 6"/>
          <p:cNvSpPr>
            <a:spLocks noGrp="1" noChangeArrowheads="1"/>
          </p:cNvSpPr>
          <p:nvPr>
            <p:ph type="sldNum" sz="quarter" idx="12"/>
          </p:nvPr>
        </p:nvSpPr>
        <p:spPr>
          <a:xfrm>
            <a:off x="8737600" y="6245226"/>
            <a:ext cx="2844800" cy="476250"/>
          </a:xfrm>
          <a:prstGeom prst="rect">
            <a:avLst/>
          </a:prstGeom>
          <a:ln/>
        </p:spPr>
        <p:txBody>
          <a:bodyPr lIns="121784" tIns="60891" rIns="121784" bIns="60891"/>
          <a:lstStyle>
            <a:lvl1pPr>
              <a:defRPr/>
            </a:lvl1pPr>
          </a:lstStyle>
          <a:p>
            <a:fld id="{67FF3989-745B-48C1-97D5-1E1D4E03331D}" type="slidenum">
              <a:rPr lang="es-CO" smtClean="0"/>
              <a:pPr/>
              <a:t>‹Nº›</a:t>
            </a:fld>
            <a:endParaRPr lang="es-CO"/>
          </a:p>
        </p:txBody>
      </p:sp>
    </p:spTree>
    <p:extLst>
      <p:ext uri="{BB962C8B-B14F-4D97-AF65-F5344CB8AC3E}">
        <p14:creationId xmlns:p14="http://schemas.microsoft.com/office/powerpoint/2010/main" val="789115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Encabezado y texto">
    <p:spTree>
      <p:nvGrpSpPr>
        <p:cNvPr id="1" name=""/>
        <p:cNvGrpSpPr/>
        <p:nvPr/>
      </p:nvGrpSpPr>
      <p:grpSpPr>
        <a:xfrm>
          <a:off x="0" y="0"/>
          <a:ext cx="0" cy="0"/>
          <a:chOff x="0" y="0"/>
          <a:chExt cx="0" cy="0"/>
        </a:xfrm>
      </p:grpSpPr>
      <p:sp>
        <p:nvSpPr>
          <p:cNvPr id="2" name="1 Título"/>
          <p:cNvSpPr>
            <a:spLocks noGrp="1"/>
          </p:cNvSpPr>
          <p:nvPr>
            <p:ph type="title"/>
          </p:nvPr>
        </p:nvSpPr>
        <p:spPr>
          <a:xfrm>
            <a:off x="609603" y="398933"/>
            <a:ext cx="8421948" cy="373433"/>
          </a:xfrm>
          <a:prstGeom prst="rect">
            <a:avLst/>
          </a:prstGeom>
        </p:spPr>
        <p:txBody>
          <a:bodyPr lIns="121784" tIns="60891" rIns="121784" bIns="60891"/>
          <a:lstStyle>
            <a:lvl1pPr algn="l">
              <a:defRPr sz="1652" b="1" i="1">
                <a:solidFill>
                  <a:schemeClr val="accent3"/>
                </a:solidFill>
              </a:defRPr>
            </a:lvl1pPr>
          </a:lstStyle>
          <a:p>
            <a:r>
              <a:rPr lang="es-ES"/>
              <a:t>Haga clic para modificar el estilo de título del patrón</a:t>
            </a:r>
            <a:endParaRPr lang="es-CO"/>
          </a:p>
        </p:txBody>
      </p:sp>
      <p:sp>
        <p:nvSpPr>
          <p:cNvPr id="6" name="5 Marcador de texto"/>
          <p:cNvSpPr>
            <a:spLocks noGrp="1"/>
          </p:cNvSpPr>
          <p:nvPr>
            <p:ph type="body" sz="quarter" idx="10"/>
          </p:nvPr>
        </p:nvSpPr>
        <p:spPr>
          <a:xfrm>
            <a:off x="615520" y="936594"/>
            <a:ext cx="11031987" cy="4984812"/>
          </a:xfrm>
          <a:prstGeom prst="rect">
            <a:avLst/>
          </a:prstGeom>
        </p:spPr>
        <p:txBody>
          <a:bodyPr lIns="121784" tIns="60891" rIns="121784" bIns="60891" anchor="ctr"/>
          <a:lstStyle>
            <a:lvl1pPr algn="l">
              <a:buFontTx/>
              <a:buBlip>
                <a:blip r:embed="rId2"/>
              </a:buBlip>
              <a:defRPr sz="1802">
                <a:solidFill>
                  <a:schemeClr val="tx1"/>
                </a:solidFill>
              </a:defRPr>
            </a:lvl1pPr>
          </a:lstStyle>
          <a:p>
            <a:pPr lvl="0"/>
            <a:r>
              <a:rPr lang="es-ES"/>
              <a:t>Haga clic para modificar el estilo de texto del patrón</a:t>
            </a:r>
          </a:p>
        </p:txBody>
      </p:sp>
    </p:spTree>
    <p:extLst>
      <p:ext uri="{BB962C8B-B14F-4D97-AF65-F5344CB8AC3E}">
        <p14:creationId xmlns:p14="http://schemas.microsoft.com/office/powerpoint/2010/main" val="36139522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apositiva títulos">
    <p:spTree>
      <p:nvGrpSpPr>
        <p:cNvPr id="1" name=""/>
        <p:cNvGrpSpPr/>
        <p:nvPr/>
      </p:nvGrpSpPr>
      <p:grpSpPr>
        <a:xfrm>
          <a:off x="0" y="0"/>
          <a:ext cx="0" cy="0"/>
          <a:chOff x="0" y="0"/>
          <a:chExt cx="0" cy="0"/>
        </a:xfrm>
      </p:grpSpPr>
      <p:pic>
        <p:nvPicPr>
          <p:cNvPr id="2" name="1 Imagen"/>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1 Título"/>
          <p:cNvSpPr>
            <a:spLocks noGrp="1"/>
          </p:cNvSpPr>
          <p:nvPr>
            <p:ph type="title" hasCustomPrompt="1"/>
          </p:nvPr>
        </p:nvSpPr>
        <p:spPr>
          <a:xfrm>
            <a:off x="719402" y="1556792"/>
            <a:ext cx="5088567" cy="3744416"/>
          </a:xfrm>
          <a:prstGeom prst="rect">
            <a:avLst/>
          </a:prstGeom>
        </p:spPr>
        <p:txBody>
          <a:bodyPr lIns="121784" tIns="60891" rIns="121784" bIns="60891"/>
          <a:lstStyle>
            <a:lvl1pPr algn="just">
              <a:defRPr sz="1802">
                <a:solidFill>
                  <a:schemeClr val="tx1">
                    <a:lumMod val="65000"/>
                    <a:lumOff val="35000"/>
                  </a:schemeClr>
                </a:solidFill>
                <a:latin typeface="Trebuchet MS" pitchFamily="34" charset="0"/>
              </a:defRPr>
            </a:lvl1pPr>
          </a:lstStyle>
          <a:p>
            <a:r>
              <a:rPr lang="es-ES"/>
              <a:t>Texto párrafo subtema, escriba aquí la información relacionada con el subtema. Texto párrafo subtema, escriba aquí la información relacionada con el subtema. Texto párrafo subtema, escriba aquí la información relacionada con el subtema. Texto párrafo subtema, escriba aquí la información relacionada con el subtema.</a:t>
            </a:r>
            <a:endParaRPr lang="es-CO"/>
          </a:p>
        </p:txBody>
      </p:sp>
      <p:sp>
        <p:nvSpPr>
          <p:cNvPr id="12" name="2 Marcador de texto"/>
          <p:cNvSpPr>
            <a:spLocks noGrp="1"/>
          </p:cNvSpPr>
          <p:nvPr>
            <p:ph type="body" idx="13" hasCustomPrompt="1"/>
          </p:nvPr>
        </p:nvSpPr>
        <p:spPr>
          <a:xfrm>
            <a:off x="395216" y="174836"/>
            <a:ext cx="10363200" cy="288032"/>
          </a:xfrm>
          <a:prstGeom prst="rect">
            <a:avLst/>
          </a:prstGeom>
        </p:spPr>
        <p:txBody>
          <a:bodyPr lIns="121784" tIns="60891" rIns="121784" bIns="60891" anchor="b"/>
          <a:lstStyle>
            <a:lvl1pPr marL="0" indent="0">
              <a:buNone/>
              <a:defRPr sz="1427" baseline="0">
                <a:solidFill>
                  <a:schemeClr val="tx1">
                    <a:tint val="75000"/>
                  </a:schemeClr>
                </a:solidFill>
                <a:latin typeface="Trebuchet MS" pitchFamily="34" charset="0"/>
              </a:defRPr>
            </a:lvl1pPr>
            <a:lvl2pPr marL="457176" indent="0">
              <a:buNone/>
              <a:defRPr sz="1802">
                <a:solidFill>
                  <a:schemeClr val="tx1">
                    <a:tint val="75000"/>
                  </a:schemeClr>
                </a:solidFill>
              </a:defRPr>
            </a:lvl2pPr>
            <a:lvl3pPr marL="914351" indent="0">
              <a:buNone/>
              <a:defRPr sz="1652">
                <a:solidFill>
                  <a:schemeClr val="tx1">
                    <a:tint val="75000"/>
                  </a:schemeClr>
                </a:solidFill>
              </a:defRPr>
            </a:lvl3pPr>
            <a:lvl4pPr marL="1371527" indent="0">
              <a:buNone/>
              <a:defRPr sz="1427">
                <a:solidFill>
                  <a:schemeClr val="tx1">
                    <a:tint val="75000"/>
                  </a:schemeClr>
                </a:solidFill>
              </a:defRPr>
            </a:lvl4pPr>
            <a:lvl5pPr marL="1828703" indent="0">
              <a:buNone/>
              <a:defRPr sz="1427">
                <a:solidFill>
                  <a:schemeClr val="tx1">
                    <a:tint val="75000"/>
                  </a:schemeClr>
                </a:solidFill>
              </a:defRPr>
            </a:lvl5pPr>
            <a:lvl6pPr marL="2285878" indent="0">
              <a:buNone/>
              <a:defRPr sz="1427">
                <a:solidFill>
                  <a:schemeClr val="tx1">
                    <a:tint val="75000"/>
                  </a:schemeClr>
                </a:solidFill>
              </a:defRPr>
            </a:lvl6pPr>
            <a:lvl7pPr marL="2743054" indent="0">
              <a:buNone/>
              <a:defRPr sz="1427">
                <a:solidFill>
                  <a:schemeClr val="tx1">
                    <a:tint val="75000"/>
                  </a:schemeClr>
                </a:solidFill>
              </a:defRPr>
            </a:lvl7pPr>
            <a:lvl8pPr marL="3200229" indent="0">
              <a:buNone/>
              <a:defRPr sz="1427">
                <a:solidFill>
                  <a:schemeClr val="tx1">
                    <a:tint val="75000"/>
                  </a:schemeClr>
                </a:solidFill>
              </a:defRPr>
            </a:lvl8pPr>
            <a:lvl9pPr marL="3657405" indent="0">
              <a:buNone/>
              <a:defRPr sz="1427">
                <a:solidFill>
                  <a:schemeClr val="tx1">
                    <a:tint val="75000"/>
                  </a:schemeClr>
                </a:solidFill>
              </a:defRPr>
            </a:lvl9pPr>
          </a:lstStyle>
          <a:p>
            <a:pPr lvl="0"/>
            <a:r>
              <a:rPr lang="es-ES"/>
              <a:t>Caso  de Negocio: Gestión Financiera Integrada</a:t>
            </a:r>
          </a:p>
        </p:txBody>
      </p:sp>
      <p:sp>
        <p:nvSpPr>
          <p:cNvPr id="13" name="2 Marcador de texto"/>
          <p:cNvSpPr>
            <a:spLocks noGrp="1"/>
          </p:cNvSpPr>
          <p:nvPr>
            <p:ph type="body" idx="14" hasCustomPrompt="1"/>
          </p:nvPr>
        </p:nvSpPr>
        <p:spPr>
          <a:xfrm>
            <a:off x="725355" y="548680"/>
            <a:ext cx="10363200" cy="432048"/>
          </a:xfrm>
          <a:prstGeom prst="rect">
            <a:avLst/>
          </a:prstGeom>
        </p:spPr>
        <p:txBody>
          <a:bodyPr lIns="121784" tIns="60891" rIns="121784" bIns="60891" anchor="b"/>
          <a:lstStyle>
            <a:lvl1pPr marL="0" indent="0">
              <a:buNone/>
              <a:defRPr sz="3228" b="1" baseline="0">
                <a:solidFill>
                  <a:srgbClr val="007934"/>
                </a:solidFill>
                <a:latin typeface="Trebuchet MS" pitchFamily="34" charset="0"/>
              </a:defRPr>
            </a:lvl1pPr>
            <a:lvl2pPr marL="457176" indent="0">
              <a:buNone/>
              <a:defRPr sz="1802">
                <a:solidFill>
                  <a:schemeClr val="tx1">
                    <a:tint val="75000"/>
                  </a:schemeClr>
                </a:solidFill>
              </a:defRPr>
            </a:lvl2pPr>
            <a:lvl3pPr marL="914351" indent="0">
              <a:buNone/>
              <a:defRPr sz="1652">
                <a:solidFill>
                  <a:schemeClr val="tx1">
                    <a:tint val="75000"/>
                  </a:schemeClr>
                </a:solidFill>
              </a:defRPr>
            </a:lvl3pPr>
            <a:lvl4pPr marL="1371527" indent="0">
              <a:buNone/>
              <a:defRPr sz="1427">
                <a:solidFill>
                  <a:schemeClr val="tx1">
                    <a:tint val="75000"/>
                  </a:schemeClr>
                </a:solidFill>
              </a:defRPr>
            </a:lvl4pPr>
            <a:lvl5pPr marL="1828703" indent="0">
              <a:buNone/>
              <a:defRPr sz="1427">
                <a:solidFill>
                  <a:schemeClr val="tx1">
                    <a:tint val="75000"/>
                  </a:schemeClr>
                </a:solidFill>
              </a:defRPr>
            </a:lvl5pPr>
            <a:lvl6pPr marL="2285878" indent="0">
              <a:buNone/>
              <a:defRPr sz="1427">
                <a:solidFill>
                  <a:schemeClr val="tx1">
                    <a:tint val="75000"/>
                  </a:schemeClr>
                </a:solidFill>
              </a:defRPr>
            </a:lvl6pPr>
            <a:lvl7pPr marL="2743054" indent="0">
              <a:buNone/>
              <a:defRPr sz="1427">
                <a:solidFill>
                  <a:schemeClr val="tx1">
                    <a:tint val="75000"/>
                  </a:schemeClr>
                </a:solidFill>
              </a:defRPr>
            </a:lvl7pPr>
            <a:lvl8pPr marL="3200229" indent="0">
              <a:buNone/>
              <a:defRPr sz="1427">
                <a:solidFill>
                  <a:schemeClr val="tx1">
                    <a:tint val="75000"/>
                  </a:schemeClr>
                </a:solidFill>
              </a:defRPr>
            </a:lvl8pPr>
            <a:lvl9pPr marL="3657405" indent="0">
              <a:buNone/>
              <a:defRPr sz="1427">
                <a:solidFill>
                  <a:schemeClr val="tx1">
                    <a:tint val="75000"/>
                  </a:schemeClr>
                </a:solidFill>
              </a:defRPr>
            </a:lvl9pPr>
          </a:lstStyle>
          <a:p>
            <a:pPr lvl="0"/>
            <a:r>
              <a:rPr lang="es-ES"/>
              <a:t>Título diapositiva</a:t>
            </a:r>
          </a:p>
        </p:txBody>
      </p:sp>
    </p:spTree>
    <p:extLst>
      <p:ext uri="{BB962C8B-B14F-4D97-AF65-F5344CB8AC3E}">
        <p14:creationId xmlns:p14="http://schemas.microsoft.com/office/powerpoint/2010/main" val="12910130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4_Diseño personalizado">
    <p:spTree>
      <p:nvGrpSpPr>
        <p:cNvPr id="1" name=""/>
        <p:cNvGrpSpPr/>
        <p:nvPr/>
      </p:nvGrpSpPr>
      <p:grpSpPr>
        <a:xfrm>
          <a:off x="0" y="0"/>
          <a:ext cx="0" cy="0"/>
          <a:chOff x="0" y="0"/>
          <a:chExt cx="0" cy="0"/>
        </a:xfrm>
      </p:grpSpPr>
      <p:pic>
        <p:nvPicPr>
          <p:cNvPr id="2" name="1 Imagen"/>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1 Título"/>
          <p:cNvSpPr>
            <a:spLocks noGrp="1"/>
          </p:cNvSpPr>
          <p:nvPr>
            <p:ph type="title" hasCustomPrompt="1"/>
          </p:nvPr>
        </p:nvSpPr>
        <p:spPr>
          <a:xfrm>
            <a:off x="623392" y="332656"/>
            <a:ext cx="10094912" cy="792088"/>
          </a:xfrm>
          <a:prstGeom prst="rect">
            <a:avLst/>
          </a:prstGeom>
        </p:spPr>
        <p:txBody>
          <a:bodyPr lIns="121784" tIns="60891" rIns="121784" bIns="60891">
            <a:normAutofit/>
          </a:bodyPr>
          <a:lstStyle>
            <a:lvl1pPr algn="l">
              <a:defRPr sz="2778" b="1" baseline="0">
                <a:solidFill>
                  <a:srgbClr val="007934"/>
                </a:solidFill>
                <a:latin typeface="Trebuchet MS" pitchFamily="34" charset="0"/>
              </a:defRPr>
            </a:lvl1pPr>
          </a:lstStyle>
          <a:p>
            <a:r>
              <a:rPr lang="es-ES"/>
              <a:t>Contacto</a:t>
            </a:r>
            <a:endParaRPr lang="es-CO"/>
          </a:p>
        </p:txBody>
      </p:sp>
      <p:sp>
        <p:nvSpPr>
          <p:cNvPr id="5" name="2 Marcador de contenido"/>
          <p:cNvSpPr>
            <a:spLocks noGrp="1"/>
          </p:cNvSpPr>
          <p:nvPr>
            <p:ph idx="1" hasCustomPrompt="1"/>
          </p:nvPr>
        </p:nvSpPr>
        <p:spPr>
          <a:xfrm>
            <a:off x="609600" y="1463044"/>
            <a:ext cx="10574967" cy="4126201"/>
          </a:xfrm>
          <a:prstGeom prst="rect">
            <a:avLst/>
          </a:prstGeom>
        </p:spPr>
        <p:txBody>
          <a:bodyPr lIns="121784" tIns="60891" rIns="121784" bIns="60891">
            <a:normAutofit/>
          </a:bodyPr>
          <a:lstStyle>
            <a:lvl1pPr>
              <a:buFont typeface="Courier New" pitchFamily="49" charset="0"/>
              <a:buChar char="o"/>
              <a:defRPr sz="2027" b="1" baseline="0">
                <a:solidFill>
                  <a:schemeClr val="tx1">
                    <a:lumMod val="65000"/>
                    <a:lumOff val="35000"/>
                  </a:schemeClr>
                </a:solidFill>
                <a:latin typeface="Trebuchet MS" pitchFamily="34" charset="0"/>
              </a:defRPr>
            </a:lvl1pPr>
            <a:lvl2pPr>
              <a:buFont typeface="Arial" pitchFamily="34" charset="0"/>
              <a:buChar char="•"/>
              <a:defRPr sz="1652" baseline="0">
                <a:solidFill>
                  <a:schemeClr val="tx1">
                    <a:lumMod val="50000"/>
                    <a:lumOff val="50000"/>
                  </a:schemeClr>
                </a:solidFill>
                <a:latin typeface="Trebuchet MS" pitchFamily="34" charset="0"/>
              </a:defRPr>
            </a:lvl2pPr>
          </a:lstStyle>
          <a:p>
            <a:pPr lvl="0"/>
            <a:r>
              <a:rPr lang="es-ES"/>
              <a:t>Nombre expositor</a:t>
            </a:r>
          </a:p>
          <a:p>
            <a:pPr marL="719099" lvl="1" indent="0">
              <a:lnSpc>
                <a:spcPct val="150000"/>
              </a:lnSpc>
              <a:buNone/>
            </a:pPr>
            <a:r>
              <a:rPr lang="es-CO"/>
              <a:t>correoexpositor@epm.com.co</a:t>
            </a:r>
            <a:br>
              <a:rPr lang="es-CO"/>
            </a:br>
            <a:r>
              <a:rPr lang="es-CO"/>
              <a:t>Teléfono: +57-4 380 8080 </a:t>
            </a:r>
            <a:br>
              <a:rPr lang="es-CO"/>
            </a:br>
            <a:r>
              <a:rPr lang="es-CO"/>
              <a:t>Móvil: 300 123 4567</a:t>
            </a:r>
          </a:p>
          <a:p>
            <a:pPr marL="719099" lvl="1" indent="0">
              <a:lnSpc>
                <a:spcPct val="150000"/>
              </a:lnSpc>
              <a:buNone/>
            </a:pPr>
            <a:r>
              <a:rPr lang="es-CO"/>
              <a:t>Fax: +57-4 265 9350 </a:t>
            </a:r>
            <a:endParaRPr lang="es-ES"/>
          </a:p>
        </p:txBody>
      </p:sp>
      <p:sp>
        <p:nvSpPr>
          <p:cNvPr id="6" name="1 Título"/>
          <p:cNvSpPr txBox="1">
            <a:spLocks/>
          </p:cNvSpPr>
          <p:nvPr/>
        </p:nvSpPr>
        <p:spPr>
          <a:xfrm>
            <a:off x="623392" y="1340768"/>
            <a:ext cx="10094912" cy="504056"/>
          </a:xfrm>
          <a:prstGeom prst="rect">
            <a:avLst/>
          </a:prstGeom>
        </p:spPr>
        <p:txBody>
          <a:bodyPr lIns="91433" tIns="45716" rIns="91433" bIns="45716">
            <a:normAutofit/>
          </a:bodyPr>
          <a:lstStyle>
            <a:lvl1pPr algn="l">
              <a:defRPr sz="2800" b="1">
                <a:solidFill>
                  <a:srgbClr val="007934"/>
                </a:solidFill>
                <a:latin typeface="Trebuchet MS" pitchFamily="34" charset="0"/>
              </a:defRPr>
            </a:lvl1pPr>
          </a:lstStyle>
          <a:p>
            <a:pPr>
              <a:spcBef>
                <a:spcPct val="0"/>
              </a:spcBef>
              <a:defRPr/>
            </a:pPr>
            <a:endParaRPr lang="es-CO" sz="2403">
              <a:solidFill>
                <a:srgbClr val="5DBF0C"/>
              </a:solidFill>
            </a:endParaRPr>
          </a:p>
        </p:txBody>
      </p:sp>
    </p:spTree>
    <p:extLst>
      <p:ext uri="{BB962C8B-B14F-4D97-AF65-F5344CB8AC3E}">
        <p14:creationId xmlns:p14="http://schemas.microsoft.com/office/powerpoint/2010/main" val="14631602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5_Diseño personalizado">
    <p:spTree>
      <p:nvGrpSpPr>
        <p:cNvPr id="1" name=""/>
        <p:cNvGrpSpPr/>
        <p:nvPr/>
      </p:nvGrpSpPr>
      <p:grpSpPr>
        <a:xfrm>
          <a:off x="0" y="0"/>
          <a:ext cx="0" cy="0"/>
          <a:chOff x="0" y="0"/>
          <a:chExt cx="0" cy="0"/>
        </a:xfrm>
      </p:grpSpPr>
      <p:pic>
        <p:nvPicPr>
          <p:cNvPr id="2" name="1 Imagen"/>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1 Título"/>
          <p:cNvSpPr>
            <a:spLocks noGrp="1"/>
          </p:cNvSpPr>
          <p:nvPr>
            <p:ph type="title" hasCustomPrompt="1"/>
          </p:nvPr>
        </p:nvSpPr>
        <p:spPr>
          <a:xfrm>
            <a:off x="623392" y="332656"/>
            <a:ext cx="10094912" cy="792088"/>
          </a:xfrm>
          <a:prstGeom prst="rect">
            <a:avLst/>
          </a:prstGeom>
        </p:spPr>
        <p:txBody>
          <a:bodyPr lIns="121784" tIns="60891" rIns="121784" bIns="60891">
            <a:normAutofit/>
          </a:bodyPr>
          <a:lstStyle>
            <a:lvl1pPr algn="l">
              <a:defRPr sz="2778" b="1" baseline="0">
                <a:solidFill>
                  <a:srgbClr val="007934"/>
                </a:solidFill>
                <a:latin typeface="Trebuchet MS" pitchFamily="34" charset="0"/>
              </a:defRPr>
            </a:lvl1pPr>
          </a:lstStyle>
          <a:p>
            <a:r>
              <a:rPr lang="es-ES"/>
              <a:t>Bibliografía / </a:t>
            </a:r>
            <a:r>
              <a:rPr lang="es-ES" err="1"/>
              <a:t>cibergrafía</a:t>
            </a:r>
            <a:r>
              <a:rPr lang="es-ES"/>
              <a:t> / créditos</a:t>
            </a:r>
            <a:endParaRPr lang="es-CO"/>
          </a:p>
        </p:txBody>
      </p:sp>
      <p:sp>
        <p:nvSpPr>
          <p:cNvPr id="5" name="2 Marcador de contenido"/>
          <p:cNvSpPr>
            <a:spLocks noGrp="1"/>
          </p:cNvSpPr>
          <p:nvPr>
            <p:ph idx="1" hasCustomPrompt="1"/>
          </p:nvPr>
        </p:nvSpPr>
        <p:spPr>
          <a:xfrm>
            <a:off x="609600" y="1463044"/>
            <a:ext cx="10574967" cy="4126201"/>
          </a:xfrm>
          <a:prstGeom prst="rect">
            <a:avLst/>
          </a:prstGeom>
        </p:spPr>
        <p:txBody>
          <a:bodyPr lIns="121784" tIns="60891" rIns="121784" bIns="60891">
            <a:normAutofit/>
          </a:bodyPr>
          <a:lstStyle>
            <a:lvl1pPr>
              <a:buFont typeface="Courier New" pitchFamily="49" charset="0"/>
              <a:buChar char="o"/>
              <a:defRPr sz="2027" b="1" baseline="0">
                <a:solidFill>
                  <a:schemeClr val="tx1">
                    <a:lumMod val="65000"/>
                    <a:lumOff val="35000"/>
                  </a:schemeClr>
                </a:solidFill>
                <a:latin typeface="Trebuchet MS" pitchFamily="34" charset="0"/>
              </a:defRPr>
            </a:lvl1pPr>
            <a:lvl2pPr>
              <a:buFont typeface="Arial" pitchFamily="34" charset="0"/>
              <a:buChar char="•"/>
              <a:defRPr sz="1652" baseline="0">
                <a:solidFill>
                  <a:schemeClr val="tx1">
                    <a:lumMod val="50000"/>
                    <a:lumOff val="50000"/>
                  </a:schemeClr>
                </a:solidFill>
                <a:latin typeface="Trebuchet MS" pitchFamily="34" charset="0"/>
              </a:defRPr>
            </a:lvl2pPr>
          </a:lstStyle>
          <a:p>
            <a:pPr lvl="0"/>
            <a:r>
              <a:rPr lang="es-ES"/>
              <a:t>Nombre libro</a:t>
            </a:r>
          </a:p>
          <a:p>
            <a:pPr lvl="1"/>
            <a:r>
              <a:rPr lang="es-ES"/>
              <a:t>Autor / Edición  / página / </a:t>
            </a:r>
          </a:p>
          <a:p>
            <a:pPr lvl="0"/>
            <a:r>
              <a:rPr lang="es-ES"/>
              <a:t>Nombre sitio web</a:t>
            </a:r>
          </a:p>
          <a:p>
            <a:pPr lvl="1"/>
            <a:r>
              <a:rPr lang="es-ES"/>
              <a:t>Enlace / fecha</a:t>
            </a:r>
          </a:p>
          <a:p>
            <a:pPr lvl="0"/>
            <a:r>
              <a:rPr lang="es-ES"/>
              <a:t>Colaboradores</a:t>
            </a:r>
          </a:p>
          <a:p>
            <a:pPr lvl="1"/>
            <a:r>
              <a:rPr lang="es-CO"/>
              <a:t>Nombre colaborador</a:t>
            </a:r>
          </a:p>
        </p:txBody>
      </p:sp>
      <p:sp>
        <p:nvSpPr>
          <p:cNvPr id="6" name="1 Título"/>
          <p:cNvSpPr txBox="1">
            <a:spLocks/>
          </p:cNvSpPr>
          <p:nvPr/>
        </p:nvSpPr>
        <p:spPr>
          <a:xfrm>
            <a:off x="623392" y="1340768"/>
            <a:ext cx="10094912" cy="504056"/>
          </a:xfrm>
          <a:prstGeom prst="rect">
            <a:avLst/>
          </a:prstGeom>
        </p:spPr>
        <p:txBody>
          <a:bodyPr lIns="91433" tIns="45716" rIns="91433" bIns="45716">
            <a:normAutofit/>
          </a:bodyPr>
          <a:lstStyle>
            <a:lvl1pPr algn="l">
              <a:defRPr sz="2800" b="1">
                <a:solidFill>
                  <a:srgbClr val="007934"/>
                </a:solidFill>
                <a:latin typeface="Trebuchet MS" pitchFamily="34" charset="0"/>
              </a:defRPr>
            </a:lvl1pPr>
          </a:lstStyle>
          <a:p>
            <a:pPr>
              <a:spcBef>
                <a:spcPct val="0"/>
              </a:spcBef>
              <a:defRPr/>
            </a:pPr>
            <a:endParaRPr lang="es-CO" sz="2403">
              <a:solidFill>
                <a:srgbClr val="5DBF0C"/>
              </a:solidFill>
            </a:endParaRPr>
          </a:p>
        </p:txBody>
      </p:sp>
    </p:spTree>
    <p:extLst>
      <p:ext uri="{BB962C8B-B14F-4D97-AF65-F5344CB8AC3E}">
        <p14:creationId xmlns:p14="http://schemas.microsoft.com/office/powerpoint/2010/main" val="9661818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apositiva agradecimiento">
    <p:spTree>
      <p:nvGrpSpPr>
        <p:cNvPr id="1" name=""/>
        <p:cNvGrpSpPr/>
        <p:nvPr/>
      </p:nvGrpSpPr>
      <p:grpSpPr>
        <a:xfrm>
          <a:off x="0" y="0"/>
          <a:ext cx="0" cy="0"/>
          <a:chOff x="0" y="0"/>
          <a:chExt cx="0" cy="0"/>
        </a:xfrm>
      </p:grpSpPr>
      <p:pic>
        <p:nvPicPr>
          <p:cNvPr id="3" name="2 Imagen" descr="08_Agradecimiento.jpg"/>
          <p:cNvPicPr>
            <a:picLocks noChangeAspect="1"/>
          </p:cNvPicPr>
          <p:nvPr/>
        </p:nvPicPr>
        <p:blipFill>
          <a:blip r:embed="rId2" cstate="print"/>
          <a:stretch>
            <a:fillRect/>
          </a:stretch>
        </p:blipFill>
        <p:spPr>
          <a:xfrm>
            <a:off x="0" y="0"/>
            <a:ext cx="12192000" cy="6858000"/>
          </a:xfrm>
          <a:prstGeom prst="rect">
            <a:avLst/>
          </a:prstGeom>
        </p:spPr>
      </p:pic>
    </p:spTree>
    <p:extLst>
      <p:ext uri="{BB962C8B-B14F-4D97-AF65-F5344CB8AC3E}">
        <p14:creationId xmlns:p14="http://schemas.microsoft.com/office/powerpoint/2010/main" val="14381628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_Diapositiva de título">
    <p:spTree>
      <p:nvGrpSpPr>
        <p:cNvPr id="1" name=""/>
        <p:cNvGrpSpPr/>
        <p:nvPr/>
      </p:nvGrpSpPr>
      <p:grpSpPr>
        <a:xfrm>
          <a:off x="0" y="0"/>
          <a:ext cx="0" cy="0"/>
          <a:chOff x="0" y="0"/>
          <a:chExt cx="0" cy="0"/>
        </a:xfrm>
      </p:grpSpPr>
      <p:pic>
        <p:nvPicPr>
          <p:cNvPr id="2" name="3 Imagen" descr="Fondo01.jpg"/>
          <p:cNvPicPr>
            <a:picLocks noChangeAspect="1"/>
          </p:cNvPicPr>
          <p:nvPr/>
        </p:nvPicPr>
        <p:blipFill>
          <a:blip r:embed="rId2" cstate="print"/>
          <a:srcRect/>
          <a:stretch>
            <a:fillRect/>
          </a:stretch>
        </p:blipFill>
        <p:spPr bwMode="auto">
          <a:xfrm>
            <a:off x="0" y="0"/>
            <a:ext cx="12192000" cy="6858000"/>
          </a:xfrm>
          <a:prstGeom prst="rect">
            <a:avLst/>
          </a:prstGeom>
          <a:noFill/>
          <a:ln w="9525">
            <a:noFill/>
            <a:miter lim="800000"/>
            <a:headEnd/>
            <a:tailEnd/>
          </a:ln>
        </p:spPr>
      </p:pic>
      <p:sp>
        <p:nvSpPr>
          <p:cNvPr id="3" name="38 Rectángulo"/>
          <p:cNvSpPr>
            <a:spLocks noChangeArrowheads="1"/>
          </p:cNvSpPr>
          <p:nvPr/>
        </p:nvSpPr>
        <p:spPr bwMode="auto">
          <a:xfrm>
            <a:off x="143340" y="6402834"/>
            <a:ext cx="823382" cy="346546"/>
          </a:xfrm>
          <a:prstGeom prst="rect">
            <a:avLst/>
          </a:prstGeom>
          <a:noFill/>
          <a:ln w="9525">
            <a:noFill/>
            <a:miter lim="800000"/>
            <a:headEnd/>
            <a:tailEnd/>
          </a:ln>
        </p:spPr>
        <p:txBody>
          <a:bodyPr wrap="square" lIns="91414" tIns="45708" rIns="91414" bIns="45708">
            <a:spAutoFit/>
          </a:bodyPr>
          <a:lstStyle/>
          <a:p>
            <a:pPr defTabSz="914163">
              <a:defRPr/>
            </a:pPr>
            <a:fld id="{33B801F5-4D1F-4916-A1A9-63486D012A9D}" type="slidenum">
              <a:rPr lang="es-ES" sz="1652" b="1" i="1">
                <a:solidFill>
                  <a:srgbClr val="00B050"/>
                </a:solidFill>
              </a:rPr>
              <a:pPr defTabSz="914163">
                <a:defRPr/>
              </a:pPr>
              <a:t>‹Nº›</a:t>
            </a:fld>
            <a:endParaRPr lang="es-ES" sz="1652" b="1" i="1">
              <a:solidFill>
                <a:srgbClr val="00B050"/>
              </a:solidFill>
            </a:endParaRPr>
          </a:p>
        </p:txBody>
      </p:sp>
    </p:spTree>
    <p:extLst>
      <p:ext uri="{BB962C8B-B14F-4D97-AF65-F5344CB8AC3E}">
        <p14:creationId xmlns:p14="http://schemas.microsoft.com/office/powerpoint/2010/main" val="2259825180"/>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Diapositiva inicial">
    <p:spTree>
      <p:nvGrpSpPr>
        <p:cNvPr id="1" name=""/>
        <p:cNvGrpSpPr/>
        <p:nvPr/>
      </p:nvGrpSpPr>
      <p:grpSpPr>
        <a:xfrm>
          <a:off x="0" y="0"/>
          <a:ext cx="0" cy="0"/>
          <a:chOff x="0" y="0"/>
          <a:chExt cx="0" cy="0"/>
        </a:xfrm>
      </p:grpSpPr>
      <p:pic>
        <p:nvPicPr>
          <p:cNvPr id="7" name="6 Imagen" descr="PlantillaInicialPresentacion.jpg"/>
          <p:cNvPicPr>
            <a:picLocks noChangeAspect="1"/>
          </p:cNvPicPr>
          <p:nvPr/>
        </p:nvPicPr>
        <p:blipFill>
          <a:blip r:embed="rId2" cstate="print"/>
          <a:stretch>
            <a:fillRect/>
          </a:stretch>
        </p:blipFill>
        <p:spPr>
          <a:xfrm>
            <a:off x="0" y="0"/>
            <a:ext cx="12192000" cy="6858000"/>
          </a:xfrm>
          <a:prstGeom prst="rect">
            <a:avLst/>
          </a:prstGeom>
        </p:spPr>
      </p:pic>
    </p:spTree>
    <p:extLst>
      <p:ext uri="{BB962C8B-B14F-4D97-AF65-F5344CB8AC3E}">
        <p14:creationId xmlns:p14="http://schemas.microsoft.com/office/powerpoint/2010/main" val="351601524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Diapositiva título presentación">
    <p:spTree>
      <p:nvGrpSpPr>
        <p:cNvPr id="1" name=""/>
        <p:cNvGrpSpPr/>
        <p:nvPr/>
      </p:nvGrpSpPr>
      <p:grpSpPr>
        <a:xfrm>
          <a:off x="0" y="0"/>
          <a:ext cx="0" cy="0"/>
          <a:chOff x="0" y="0"/>
          <a:chExt cx="0" cy="0"/>
        </a:xfrm>
      </p:grpSpPr>
      <p:pic>
        <p:nvPicPr>
          <p:cNvPr id="4" name="3 Imagen" descr="04_Plantilla_contenidos.jpg"/>
          <p:cNvPicPr>
            <a:picLocks noChangeAspect="1"/>
          </p:cNvPicPr>
          <p:nvPr/>
        </p:nvPicPr>
        <p:blipFill>
          <a:blip r:embed="rId2" cstate="print"/>
          <a:stretch>
            <a:fillRect/>
          </a:stretch>
        </p:blipFill>
        <p:spPr>
          <a:xfrm>
            <a:off x="0" y="0"/>
            <a:ext cx="12192000" cy="6858000"/>
          </a:xfrm>
          <a:prstGeom prst="rect">
            <a:avLst/>
          </a:prstGeom>
        </p:spPr>
      </p:pic>
      <p:sp>
        <p:nvSpPr>
          <p:cNvPr id="2" name="1 Título"/>
          <p:cNvSpPr>
            <a:spLocks noGrp="1"/>
          </p:cNvSpPr>
          <p:nvPr>
            <p:ph type="title" hasCustomPrompt="1"/>
          </p:nvPr>
        </p:nvSpPr>
        <p:spPr>
          <a:xfrm>
            <a:off x="1487489" y="2780928"/>
            <a:ext cx="9025003" cy="1362075"/>
          </a:xfrm>
          <a:prstGeom prst="rect">
            <a:avLst/>
          </a:prstGeom>
        </p:spPr>
        <p:txBody>
          <a:bodyPr lIns="121784" tIns="60891" rIns="121784" bIns="60891" anchor="t"/>
          <a:lstStyle>
            <a:lvl1pPr algn="ctr">
              <a:lnSpc>
                <a:spcPts val="4000"/>
              </a:lnSpc>
              <a:defRPr lang="es-CO" sz="3979" b="1" baseline="0" dirty="0">
                <a:solidFill>
                  <a:srgbClr val="007934"/>
                </a:solidFill>
                <a:latin typeface="Trebuchet MS" pitchFamily="34" charset="0"/>
              </a:defRPr>
            </a:lvl1pPr>
          </a:lstStyle>
          <a:p>
            <a:r>
              <a:rPr lang="es-ES"/>
              <a:t>Título principal de la</a:t>
            </a:r>
            <a:br>
              <a:rPr lang="es-ES"/>
            </a:br>
            <a:r>
              <a:rPr lang="es-ES"/>
              <a:t>Presentación</a:t>
            </a:r>
            <a:endParaRPr lang="es-CO"/>
          </a:p>
        </p:txBody>
      </p:sp>
    </p:spTree>
    <p:extLst>
      <p:ext uri="{BB962C8B-B14F-4D97-AF65-F5344CB8AC3E}">
        <p14:creationId xmlns:p14="http://schemas.microsoft.com/office/powerpoint/2010/main" val="26735390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Diapositiva título - subtítulo">
    <p:spTree>
      <p:nvGrpSpPr>
        <p:cNvPr id="1" name=""/>
        <p:cNvGrpSpPr/>
        <p:nvPr/>
      </p:nvGrpSpPr>
      <p:grpSpPr>
        <a:xfrm>
          <a:off x="0" y="0"/>
          <a:ext cx="0" cy="0"/>
          <a:chOff x="0" y="0"/>
          <a:chExt cx="0" cy="0"/>
        </a:xfrm>
      </p:grpSpPr>
      <p:pic>
        <p:nvPicPr>
          <p:cNvPr id="8" name="7 Imagen" descr="04_Plantilla_contenidos.jpg"/>
          <p:cNvPicPr>
            <a:picLocks noChangeAspect="1"/>
          </p:cNvPicPr>
          <p:nvPr/>
        </p:nvPicPr>
        <p:blipFill>
          <a:blip r:embed="rId2" cstate="print"/>
          <a:stretch>
            <a:fillRect/>
          </a:stretch>
        </p:blipFill>
        <p:spPr>
          <a:xfrm>
            <a:off x="0" y="0"/>
            <a:ext cx="12192000" cy="6858000"/>
          </a:xfrm>
          <a:prstGeom prst="rect">
            <a:avLst/>
          </a:prstGeom>
        </p:spPr>
      </p:pic>
      <p:sp>
        <p:nvSpPr>
          <p:cNvPr id="2" name="1 Título"/>
          <p:cNvSpPr>
            <a:spLocks noGrp="1"/>
          </p:cNvSpPr>
          <p:nvPr>
            <p:ph type="title" hasCustomPrompt="1"/>
          </p:nvPr>
        </p:nvSpPr>
        <p:spPr>
          <a:xfrm>
            <a:off x="719402" y="1844824"/>
            <a:ext cx="5088567" cy="3384376"/>
          </a:xfrm>
          <a:prstGeom prst="rect">
            <a:avLst/>
          </a:prstGeom>
        </p:spPr>
        <p:txBody>
          <a:bodyPr lIns="121784" tIns="60891" rIns="121784" bIns="60891"/>
          <a:lstStyle>
            <a:lvl1pPr algn="just">
              <a:defRPr sz="1802">
                <a:solidFill>
                  <a:schemeClr val="tx1">
                    <a:lumMod val="65000"/>
                    <a:lumOff val="35000"/>
                  </a:schemeClr>
                </a:solidFill>
                <a:latin typeface="Trebuchet MS" pitchFamily="34" charset="0"/>
              </a:defRPr>
            </a:lvl1pPr>
          </a:lstStyle>
          <a:p>
            <a:r>
              <a:rPr lang="es-ES"/>
              <a:t>Texto párrafo subtema, escriba aquí la información relacionada con el subtema. Texto párrafo subtema, escriba aquí la información relacionada con el subtema. Texto párrafo subtema, escriba aquí la información relacionada con el subtema. Texto párrafo subtema, escriba aquí la información relacionada con el subtema.</a:t>
            </a:r>
            <a:endParaRPr lang="es-CO"/>
          </a:p>
        </p:txBody>
      </p:sp>
      <p:sp>
        <p:nvSpPr>
          <p:cNvPr id="6" name="2 Marcador de texto"/>
          <p:cNvSpPr>
            <a:spLocks noGrp="1"/>
          </p:cNvSpPr>
          <p:nvPr>
            <p:ph type="body" idx="15" hasCustomPrompt="1"/>
          </p:nvPr>
        </p:nvSpPr>
        <p:spPr>
          <a:xfrm>
            <a:off x="725355" y="1340768"/>
            <a:ext cx="10363200" cy="432048"/>
          </a:xfrm>
          <a:prstGeom prst="rect">
            <a:avLst/>
          </a:prstGeom>
        </p:spPr>
        <p:txBody>
          <a:bodyPr lIns="121784" tIns="60891" rIns="121784" bIns="60891" anchor="b"/>
          <a:lstStyle>
            <a:lvl1pPr marL="0" indent="0">
              <a:buNone/>
              <a:defRPr sz="2403" b="1" baseline="0">
                <a:solidFill>
                  <a:srgbClr val="5DBF0C"/>
                </a:solidFill>
                <a:latin typeface="Trebuchet MS" pitchFamily="34" charset="0"/>
              </a:defRPr>
            </a:lvl1pPr>
            <a:lvl2pPr marL="457176" indent="0">
              <a:buNone/>
              <a:defRPr sz="1802">
                <a:solidFill>
                  <a:schemeClr val="tx1">
                    <a:tint val="75000"/>
                  </a:schemeClr>
                </a:solidFill>
              </a:defRPr>
            </a:lvl2pPr>
            <a:lvl3pPr marL="914351" indent="0">
              <a:buNone/>
              <a:defRPr sz="1652">
                <a:solidFill>
                  <a:schemeClr val="tx1">
                    <a:tint val="75000"/>
                  </a:schemeClr>
                </a:solidFill>
              </a:defRPr>
            </a:lvl3pPr>
            <a:lvl4pPr marL="1371527" indent="0">
              <a:buNone/>
              <a:defRPr sz="1427">
                <a:solidFill>
                  <a:schemeClr val="tx1">
                    <a:tint val="75000"/>
                  </a:schemeClr>
                </a:solidFill>
              </a:defRPr>
            </a:lvl4pPr>
            <a:lvl5pPr marL="1828703" indent="0">
              <a:buNone/>
              <a:defRPr sz="1427">
                <a:solidFill>
                  <a:schemeClr val="tx1">
                    <a:tint val="75000"/>
                  </a:schemeClr>
                </a:solidFill>
              </a:defRPr>
            </a:lvl5pPr>
            <a:lvl6pPr marL="2285878" indent="0">
              <a:buNone/>
              <a:defRPr sz="1427">
                <a:solidFill>
                  <a:schemeClr val="tx1">
                    <a:tint val="75000"/>
                  </a:schemeClr>
                </a:solidFill>
              </a:defRPr>
            </a:lvl6pPr>
            <a:lvl7pPr marL="2743054" indent="0">
              <a:buNone/>
              <a:defRPr sz="1427">
                <a:solidFill>
                  <a:schemeClr val="tx1">
                    <a:tint val="75000"/>
                  </a:schemeClr>
                </a:solidFill>
              </a:defRPr>
            </a:lvl7pPr>
            <a:lvl8pPr marL="3200229" indent="0">
              <a:buNone/>
              <a:defRPr sz="1427">
                <a:solidFill>
                  <a:schemeClr val="tx1">
                    <a:tint val="75000"/>
                  </a:schemeClr>
                </a:solidFill>
              </a:defRPr>
            </a:lvl8pPr>
            <a:lvl9pPr marL="3657405" indent="0">
              <a:buNone/>
              <a:defRPr sz="1427">
                <a:solidFill>
                  <a:schemeClr val="tx1">
                    <a:tint val="75000"/>
                  </a:schemeClr>
                </a:solidFill>
              </a:defRPr>
            </a:lvl9pPr>
          </a:lstStyle>
          <a:p>
            <a:pPr lvl="0"/>
            <a:r>
              <a:rPr lang="es-ES"/>
              <a:t>Subtítulo diapositiva</a:t>
            </a:r>
          </a:p>
        </p:txBody>
      </p:sp>
      <p:sp>
        <p:nvSpPr>
          <p:cNvPr id="7" name="2 Marcador de texto"/>
          <p:cNvSpPr>
            <a:spLocks noGrp="1"/>
          </p:cNvSpPr>
          <p:nvPr>
            <p:ph type="body" idx="13" hasCustomPrompt="1"/>
          </p:nvPr>
        </p:nvSpPr>
        <p:spPr>
          <a:xfrm>
            <a:off x="719404" y="260650"/>
            <a:ext cx="10363200" cy="288032"/>
          </a:xfrm>
          <a:prstGeom prst="rect">
            <a:avLst/>
          </a:prstGeom>
        </p:spPr>
        <p:txBody>
          <a:bodyPr lIns="121784" tIns="60891" rIns="121784" bIns="60891" anchor="b"/>
          <a:lstStyle>
            <a:lvl1pPr marL="0" indent="0">
              <a:buNone/>
              <a:defRPr sz="1427" baseline="0">
                <a:solidFill>
                  <a:schemeClr val="tx1">
                    <a:tint val="75000"/>
                  </a:schemeClr>
                </a:solidFill>
                <a:latin typeface="Trebuchet MS" pitchFamily="34" charset="0"/>
              </a:defRPr>
            </a:lvl1pPr>
            <a:lvl2pPr marL="457176" indent="0">
              <a:buNone/>
              <a:defRPr sz="1802">
                <a:solidFill>
                  <a:schemeClr val="tx1">
                    <a:tint val="75000"/>
                  </a:schemeClr>
                </a:solidFill>
              </a:defRPr>
            </a:lvl2pPr>
            <a:lvl3pPr marL="914351" indent="0">
              <a:buNone/>
              <a:defRPr sz="1652">
                <a:solidFill>
                  <a:schemeClr val="tx1">
                    <a:tint val="75000"/>
                  </a:schemeClr>
                </a:solidFill>
              </a:defRPr>
            </a:lvl3pPr>
            <a:lvl4pPr marL="1371527" indent="0">
              <a:buNone/>
              <a:defRPr sz="1427">
                <a:solidFill>
                  <a:schemeClr val="tx1">
                    <a:tint val="75000"/>
                  </a:schemeClr>
                </a:solidFill>
              </a:defRPr>
            </a:lvl4pPr>
            <a:lvl5pPr marL="1828703" indent="0">
              <a:buNone/>
              <a:defRPr sz="1427">
                <a:solidFill>
                  <a:schemeClr val="tx1">
                    <a:tint val="75000"/>
                  </a:schemeClr>
                </a:solidFill>
              </a:defRPr>
            </a:lvl5pPr>
            <a:lvl6pPr marL="2285878" indent="0">
              <a:buNone/>
              <a:defRPr sz="1427">
                <a:solidFill>
                  <a:schemeClr val="tx1">
                    <a:tint val="75000"/>
                  </a:schemeClr>
                </a:solidFill>
              </a:defRPr>
            </a:lvl6pPr>
            <a:lvl7pPr marL="2743054" indent="0">
              <a:buNone/>
              <a:defRPr sz="1427">
                <a:solidFill>
                  <a:schemeClr val="tx1">
                    <a:tint val="75000"/>
                  </a:schemeClr>
                </a:solidFill>
              </a:defRPr>
            </a:lvl7pPr>
            <a:lvl8pPr marL="3200229" indent="0">
              <a:buNone/>
              <a:defRPr sz="1427">
                <a:solidFill>
                  <a:schemeClr val="tx1">
                    <a:tint val="75000"/>
                  </a:schemeClr>
                </a:solidFill>
              </a:defRPr>
            </a:lvl8pPr>
            <a:lvl9pPr marL="3657405" indent="0">
              <a:buNone/>
              <a:defRPr sz="1427">
                <a:solidFill>
                  <a:schemeClr val="tx1">
                    <a:tint val="75000"/>
                  </a:schemeClr>
                </a:solidFill>
              </a:defRPr>
            </a:lvl9pPr>
          </a:lstStyle>
          <a:p>
            <a:pPr lvl="0"/>
            <a:r>
              <a:rPr lang="es-ES"/>
              <a:t>Tema principal presentación</a:t>
            </a:r>
          </a:p>
        </p:txBody>
      </p:sp>
      <p:sp>
        <p:nvSpPr>
          <p:cNvPr id="11" name="2 Marcador de texto"/>
          <p:cNvSpPr>
            <a:spLocks noGrp="1"/>
          </p:cNvSpPr>
          <p:nvPr>
            <p:ph type="body" idx="14" hasCustomPrompt="1"/>
          </p:nvPr>
        </p:nvSpPr>
        <p:spPr>
          <a:xfrm>
            <a:off x="725355" y="548680"/>
            <a:ext cx="10363200" cy="432048"/>
          </a:xfrm>
          <a:prstGeom prst="rect">
            <a:avLst/>
          </a:prstGeom>
        </p:spPr>
        <p:txBody>
          <a:bodyPr lIns="121784" tIns="60891" rIns="121784" bIns="60891" anchor="b"/>
          <a:lstStyle>
            <a:lvl1pPr marL="0" indent="0">
              <a:buNone/>
              <a:defRPr sz="3228" b="1" baseline="0">
                <a:solidFill>
                  <a:srgbClr val="007934"/>
                </a:solidFill>
                <a:latin typeface="Trebuchet MS" pitchFamily="34" charset="0"/>
              </a:defRPr>
            </a:lvl1pPr>
            <a:lvl2pPr marL="457176" indent="0">
              <a:buNone/>
              <a:defRPr sz="1802">
                <a:solidFill>
                  <a:schemeClr val="tx1">
                    <a:tint val="75000"/>
                  </a:schemeClr>
                </a:solidFill>
              </a:defRPr>
            </a:lvl2pPr>
            <a:lvl3pPr marL="914351" indent="0">
              <a:buNone/>
              <a:defRPr sz="1652">
                <a:solidFill>
                  <a:schemeClr val="tx1">
                    <a:tint val="75000"/>
                  </a:schemeClr>
                </a:solidFill>
              </a:defRPr>
            </a:lvl3pPr>
            <a:lvl4pPr marL="1371527" indent="0">
              <a:buNone/>
              <a:defRPr sz="1427">
                <a:solidFill>
                  <a:schemeClr val="tx1">
                    <a:tint val="75000"/>
                  </a:schemeClr>
                </a:solidFill>
              </a:defRPr>
            </a:lvl4pPr>
            <a:lvl5pPr marL="1828703" indent="0">
              <a:buNone/>
              <a:defRPr sz="1427">
                <a:solidFill>
                  <a:schemeClr val="tx1">
                    <a:tint val="75000"/>
                  </a:schemeClr>
                </a:solidFill>
              </a:defRPr>
            </a:lvl5pPr>
            <a:lvl6pPr marL="2285878" indent="0">
              <a:buNone/>
              <a:defRPr sz="1427">
                <a:solidFill>
                  <a:schemeClr val="tx1">
                    <a:tint val="75000"/>
                  </a:schemeClr>
                </a:solidFill>
              </a:defRPr>
            </a:lvl6pPr>
            <a:lvl7pPr marL="2743054" indent="0">
              <a:buNone/>
              <a:defRPr sz="1427">
                <a:solidFill>
                  <a:schemeClr val="tx1">
                    <a:tint val="75000"/>
                  </a:schemeClr>
                </a:solidFill>
              </a:defRPr>
            </a:lvl7pPr>
            <a:lvl8pPr marL="3200229" indent="0">
              <a:buNone/>
              <a:defRPr sz="1427">
                <a:solidFill>
                  <a:schemeClr val="tx1">
                    <a:tint val="75000"/>
                  </a:schemeClr>
                </a:solidFill>
              </a:defRPr>
            </a:lvl8pPr>
            <a:lvl9pPr marL="3657405" indent="0">
              <a:buNone/>
              <a:defRPr sz="1427">
                <a:solidFill>
                  <a:schemeClr val="tx1">
                    <a:tint val="75000"/>
                  </a:schemeClr>
                </a:solidFill>
              </a:defRPr>
            </a:lvl9pPr>
          </a:lstStyle>
          <a:p>
            <a:pPr lvl="0"/>
            <a:r>
              <a:rPr lang="es-ES"/>
              <a:t>Título diapositiva</a:t>
            </a:r>
          </a:p>
        </p:txBody>
      </p:sp>
      <p:sp>
        <p:nvSpPr>
          <p:cNvPr id="9" name="6 Marcador de número de diapositiva"/>
          <p:cNvSpPr>
            <a:spLocks noGrp="1"/>
          </p:cNvSpPr>
          <p:nvPr>
            <p:ph type="sldNum" sz="quarter" idx="12"/>
          </p:nvPr>
        </p:nvSpPr>
        <p:spPr>
          <a:xfrm>
            <a:off x="11382453" y="6334408"/>
            <a:ext cx="809550" cy="365125"/>
          </a:xfrm>
          <a:prstGeom prst="rect">
            <a:avLst/>
          </a:prstGeom>
        </p:spPr>
        <p:txBody>
          <a:bodyPr lIns="121784" tIns="60891" rIns="121784" bIns="60891"/>
          <a:lstStyle>
            <a:lvl1pPr>
              <a:defRPr>
                <a:solidFill>
                  <a:schemeClr val="tx1">
                    <a:lumMod val="50000"/>
                    <a:lumOff val="50000"/>
                  </a:schemeClr>
                </a:solidFill>
                <a:latin typeface="Trebuchet MS" pitchFamily="34" charset="0"/>
              </a:defRPr>
            </a:lvl1pPr>
          </a:lstStyle>
          <a:p>
            <a:fld id="{67FF3989-745B-48C1-97D5-1E1D4E03331D}" type="slidenum">
              <a:rPr lang="es-CO" smtClean="0"/>
              <a:pPr/>
              <a:t>‹Nº›</a:t>
            </a:fld>
            <a:endParaRPr lang="es-CO"/>
          </a:p>
        </p:txBody>
      </p:sp>
    </p:spTree>
    <p:extLst>
      <p:ext uri="{BB962C8B-B14F-4D97-AF65-F5344CB8AC3E}">
        <p14:creationId xmlns:p14="http://schemas.microsoft.com/office/powerpoint/2010/main" val="36576462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6_Diseño personalizado">
    <p:spTree>
      <p:nvGrpSpPr>
        <p:cNvPr id="1" name=""/>
        <p:cNvGrpSpPr/>
        <p:nvPr/>
      </p:nvGrpSpPr>
      <p:grpSpPr>
        <a:xfrm>
          <a:off x="0" y="0"/>
          <a:ext cx="0" cy="0"/>
          <a:chOff x="0" y="0"/>
          <a:chExt cx="0" cy="0"/>
        </a:xfrm>
      </p:grpSpPr>
      <p:pic>
        <p:nvPicPr>
          <p:cNvPr id="8" name="7 Imagen" descr="04_Plantilla_contenidos.jpg"/>
          <p:cNvPicPr>
            <a:picLocks noChangeAspect="1"/>
          </p:cNvPicPr>
          <p:nvPr/>
        </p:nvPicPr>
        <p:blipFill>
          <a:blip r:embed="rId2" cstate="print"/>
          <a:stretch>
            <a:fillRect/>
          </a:stretch>
        </p:blipFill>
        <p:spPr>
          <a:xfrm>
            <a:off x="0" y="0"/>
            <a:ext cx="12192000" cy="6858000"/>
          </a:xfrm>
          <a:prstGeom prst="rect">
            <a:avLst/>
          </a:prstGeom>
        </p:spPr>
      </p:pic>
      <p:sp>
        <p:nvSpPr>
          <p:cNvPr id="4" name="1 Título"/>
          <p:cNvSpPr>
            <a:spLocks noGrp="1"/>
          </p:cNvSpPr>
          <p:nvPr>
            <p:ph type="title" hasCustomPrompt="1"/>
          </p:nvPr>
        </p:nvSpPr>
        <p:spPr>
          <a:xfrm>
            <a:off x="623392" y="332656"/>
            <a:ext cx="10094912" cy="792088"/>
          </a:xfrm>
          <a:prstGeom prst="rect">
            <a:avLst/>
          </a:prstGeom>
        </p:spPr>
        <p:txBody>
          <a:bodyPr lIns="121784" tIns="60891" rIns="121784" bIns="60891">
            <a:normAutofit/>
          </a:bodyPr>
          <a:lstStyle>
            <a:lvl1pPr algn="l">
              <a:defRPr sz="2778" b="1" baseline="0">
                <a:solidFill>
                  <a:srgbClr val="007934"/>
                </a:solidFill>
                <a:latin typeface="Trebuchet MS" pitchFamily="34" charset="0"/>
              </a:defRPr>
            </a:lvl1pPr>
          </a:lstStyle>
          <a:p>
            <a:r>
              <a:rPr lang="es-ES"/>
              <a:t>Contacto</a:t>
            </a:r>
            <a:endParaRPr lang="es-CO"/>
          </a:p>
        </p:txBody>
      </p:sp>
      <p:sp>
        <p:nvSpPr>
          <p:cNvPr id="5" name="2 Marcador de contenido"/>
          <p:cNvSpPr>
            <a:spLocks noGrp="1"/>
          </p:cNvSpPr>
          <p:nvPr>
            <p:ph idx="1" hasCustomPrompt="1"/>
          </p:nvPr>
        </p:nvSpPr>
        <p:spPr>
          <a:xfrm>
            <a:off x="609600" y="1463044"/>
            <a:ext cx="10574967" cy="4126201"/>
          </a:xfrm>
          <a:prstGeom prst="rect">
            <a:avLst/>
          </a:prstGeom>
        </p:spPr>
        <p:txBody>
          <a:bodyPr lIns="121784" tIns="60891" rIns="121784" bIns="60891">
            <a:normAutofit/>
          </a:bodyPr>
          <a:lstStyle>
            <a:lvl1pPr>
              <a:buFont typeface="Courier New" pitchFamily="49" charset="0"/>
              <a:buChar char="o"/>
              <a:defRPr sz="2027" b="1" baseline="0">
                <a:solidFill>
                  <a:schemeClr val="tx1">
                    <a:lumMod val="65000"/>
                    <a:lumOff val="35000"/>
                  </a:schemeClr>
                </a:solidFill>
                <a:latin typeface="Trebuchet MS" pitchFamily="34" charset="0"/>
              </a:defRPr>
            </a:lvl1pPr>
            <a:lvl2pPr>
              <a:buFont typeface="Arial" pitchFamily="34" charset="0"/>
              <a:buChar char="•"/>
              <a:defRPr sz="1652" baseline="0">
                <a:solidFill>
                  <a:schemeClr val="tx1">
                    <a:lumMod val="50000"/>
                    <a:lumOff val="50000"/>
                  </a:schemeClr>
                </a:solidFill>
                <a:latin typeface="Trebuchet MS" pitchFamily="34" charset="0"/>
              </a:defRPr>
            </a:lvl2pPr>
          </a:lstStyle>
          <a:p>
            <a:pPr lvl="0"/>
            <a:r>
              <a:rPr lang="es-ES"/>
              <a:t>Nombre expositor</a:t>
            </a:r>
          </a:p>
          <a:p>
            <a:pPr marL="719099" lvl="1" indent="0">
              <a:lnSpc>
                <a:spcPct val="150000"/>
              </a:lnSpc>
              <a:buNone/>
            </a:pPr>
            <a:r>
              <a:rPr lang="es-CO"/>
              <a:t>correoexpositor@epm.com.co</a:t>
            </a:r>
            <a:br>
              <a:rPr lang="es-CO"/>
            </a:br>
            <a:r>
              <a:rPr lang="es-CO"/>
              <a:t>Teléfono: +57-4 380 8080 </a:t>
            </a:r>
            <a:br>
              <a:rPr lang="es-CO"/>
            </a:br>
            <a:r>
              <a:rPr lang="es-CO"/>
              <a:t>Móvil: 300 123 4567</a:t>
            </a:r>
          </a:p>
          <a:p>
            <a:pPr marL="719099" lvl="1" indent="0">
              <a:lnSpc>
                <a:spcPct val="150000"/>
              </a:lnSpc>
              <a:buNone/>
            </a:pPr>
            <a:r>
              <a:rPr lang="es-CO"/>
              <a:t>Fax: +57-4 265 9350 </a:t>
            </a:r>
            <a:endParaRPr lang="es-ES"/>
          </a:p>
        </p:txBody>
      </p:sp>
      <p:sp>
        <p:nvSpPr>
          <p:cNvPr id="6" name="1 Título"/>
          <p:cNvSpPr txBox="1">
            <a:spLocks/>
          </p:cNvSpPr>
          <p:nvPr/>
        </p:nvSpPr>
        <p:spPr>
          <a:xfrm>
            <a:off x="623392" y="1340768"/>
            <a:ext cx="10094912" cy="504056"/>
          </a:xfrm>
          <a:prstGeom prst="rect">
            <a:avLst/>
          </a:prstGeom>
        </p:spPr>
        <p:txBody>
          <a:bodyPr lIns="91433" tIns="45716" rIns="91433" bIns="45716">
            <a:normAutofit/>
          </a:bodyPr>
          <a:lstStyle>
            <a:lvl1pPr algn="l">
              <a:defRPr sz="2800" b="1">
                <a:solidFill>
                  <a:srgbClr val="007934"/>
                </a:solidFill>
                <a:latin typeface="Trebuchet MS" pitchFamily="34" charset="0"/>
              </a:defRPr>
            </a:lvl1pPr>
          </a:lstStyle>
          <a:p>
            <a:pPr marL="0" marR="0" lvl="0" indent="0" algn="l" defTabSz="914351" rtl="0" eaLnBrk="1" fontAlgn="auto" latinLnBrk="0" hangingPunct="1">
              <a:lnSpc>
                <a:spcPct val="100000"/>
              </a:lnSpc>
              <a:spcBef>
                <a:spcPct val="0"/>
              </a:spcBef>
              <a:spcAft>
                <a:spcPts val="0"/>
              </a:spcAft>
              <a:buClrTx/>
              <a:buSzTx/>
              <a:buFontTx/>
              <a:buNone/>
              <a:tabLst/>
              <a:defRPr/>
            </a:pPr>
            <a:endParaRPr kumimoji="0" lang="es-CO" sz="2403" b="1" i="0" u="none" strike="noStrike" kern="1200" cap="none" spc="0" normalizeH="0" baseline="0" noProof="0">
              <a:ln>
                <a:noFill/>
              </a:ln>
              <a:solidFill>
                <a:srgbClr val="5DBF0C"/>
              </a:solidFill>
              <a:effectLst/>
              <a:uLnTx/>
              <a:uFillTx/>
              <a:latin typeface="Trebuchet MS" pitchFamily="34" charset="0"/>
              <a:ea typeface="+mj-ea"/>
              <a:cs typeface="+mj-cs"/>
            </a:endParaRPr>
          </a:p>
        </p:txBody>
      </p:sp>
      <p:sp>
        <p:nvSpPr>
          <p:cNvPr id="7" name="6 Marcador de número de diapositiva"/>
          <p:cNvSpPr>
            <a:spLocks noGrp="1"/>
          </p:cNvSpPr>
          <p:nvPr>
            <p:ph type="sldNum" sz="quarter" idx="12"/>
          </p:nvPr>
        </p:nvSpPr>
        <p:spPr>
          <a:xfrm>
            <a:off x="11382453" y="6334408"/>
            <a:ext cx="809550" cy="365125"/>
          </a:xfrm>
          <a:prstGeom prst="rect">
            <a:avLst/>
          </a:prstGeom>
        </p:spPr>
        <p:txBody>
          <a:bodyPr lIns="121784" tIns="60891" rIns="121784" bIns="60891"/>
          <a:lstStyle>
            <a:lvl1pPr>
              <a:defRPr>
                <a:solidFill>
                  <a:schemeClr val="tx1">
                    <a:lumMod val="50000"/>
                    <a:lumOff val="50000"/>
                  </a:schemeClr>
                </a:solidFill>
                <a:latin typeface="Trebuchet MS" pitchFamily="34" charset="0"/>
              </a:defRPr>
            </a:lvl1pPr>
          </a:lstStyle>
          <a:p>
            <a:fld id="{67FF3989-745B-48C1-97D5-1E1D4E03331D}" type="slidenum">
              <a:rPr lang="es-CO" smtClean="0"/>
              <a:pPr/>
              <a:t>‹Nº›</a:t>
            </a:fld>
            <a:endParaRPr lang="es-CO"/>
          </a:p>
        </p:txBody>
      </p:sp>
    </p:spTree>
    <p:extLst>
      <p:ext uri="{BB962C8B-B14F-4D97-AF65-F5344CB8AC3E}">
        <p14:creationId xmlns:p14="http://schemas.microsoft.com/office/powerpoint/2010/main" val="30876933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7_Diseño personalizado">
    <p:spTree>
      <p:nvGrpSpPr>
        <p:cNvPr id="1" name=""/>
        <p:cNvGrpSpPr/>
        <p:nvPr/>
      </p:nvGrpSpPr>
      <p:grpSpPr>
        <a:xfrm>
          <a:off x="0" y="0"/>
          <a:ext cx="0" cy="0"/>
          <a:chOff x="0" y="0"/>
          <a:chExt cx="0" cy="0"/>
        </a:xfrm>
      </p:grpSpPr>
      <p:pic>
        <p:nvPicPr>
          <p:cNvPr id="8" name="7 Imagen" descr="04_Plantilla_contenidos.jpg"/>
          <p:cNvPicPr>
            <a:picLocks noChangeAspect="1"/>
          </p:cNvPicPr>
          <p:nvPr/>
        </p:nvPicPr>
        <p:blipFill>
          <a:blip r:embed="rId2" cstate="print"/>
          <a:stretch>
            <a:fillRect/>
          </a:stretch>
        </p:blipFill>
        <p:spPr>
          <a:xfrm>
            <a:off x="0" y="0"/>
            <a:ext cx="12192000" cy="6858000"/>
          </a:xfrm>
          <a:prstGeom prst="rect">
            <a:avLst/>
          </a:prstGeom>
        </p:spPr>
      </p:pic>
      <p:sp>
        <p:nvSpPr>
          <p:cNvPr id="4" name="1 Título"/>
          <p:cNvSpPr>
            <a:spLocks noGrp="1"/>
          </p:cNvSpPr>
          <p:nvPr>
            <p:ph type="title" hasCustomPrompt="1"/>
          </p:nvPr>
        </p:nvSpPr>
        <p:spPr>
          <a:xfrm>
            <a:off x="623392" y="332656"/>
            <a:ext cx="10094912" cy="792088"/>
          </a:xfrm>
          <a:prstGeom prst="rect">
            <a:avLst/>
          </a:prstGeom>
        </p:spPr>
        <p:txBody>
          <a:bodyPr lIns="121784" tIns="60891" rIns="121784" bIns="60891">
            <a:normAutofit/>
          </a:bodyPr>
          <a:lstStyle>
            <a:lvl1pPr algn="l">
              <a:defRPr sz="2778" b="1" baseline="0">
                <a:solidFill>
                  <a:srgbClr val="007934"/>
                </a:solidFill>
                <a:latin typeface="Trebuchet MS" pitchFamily="34" charset="0"/>
              </a:defRPr>
            </a:lvl1pPr>
          </a:lstStyle>
          <a:p>
            <a:r>
              <a:rPr lang="es-ES"/>
              <a:t>Bibliografía / </a:t>
            </a:r>
            <a:r>
              <a:rPr lang="es-ES" err="1"/>
              <a:t>cibergrafía</a:t>
            </a:r>
            <a:r>
              <a:rPr lang="es-ES"/>
              <a:t> / créditos</a:t>
            </a:r>
            <a:endParaRPr lang="es-CO"/>
          </a:p>
        </p:txBody>
      </p:sp>
      <p:sp>
        <p:nvSpPr>
          <p:cNvPr id="5" name="2 Marcador de contenido"/>
          <p:cNvSpPr>
            <a:spLocks noGrp="1"/>
          </p:cNvSpPr>
          <p:nvPr>
            <p:ph idx="1" hasCustomPrompt="1"/>
          </p:nvPr>
        </p:nvSpPr>
        <p:spPr>
          <a:xfrm>
            <a:off x="609600" y="1463044"/>
            <a:ext cx="10574967" cy="4126201"/>
          </a:xfrm>
          <a:prstGeom prst="rect">
            <a:avLst/>
          </a:prstGeom>
        </p:spPr>
        <p:txBody>
          <a:bodyPr lIns="121784" tIns="60891" rIns="121784" bIns="60891">
            <a:normAutofit/>
          </a:bodyPr>
          <a:lstStyle>
            <a:lvl1pPr>
              <a:buFont typeface="Courier New" pitchFamily="49" charset="0"/>
              <a:buChar char="o"/>
              <a:defRPr sz="2027" b="1" baseline="0">
                <a:solidFill>
                  <a:schemeClr val="tx1">
                    <a:lumMod val="65000"/>
                    <a:lumOff val="35000"/>
                  </a:schemeClr>
                </a:solidFill>
                <a:latin typeface="Trebuchet MS" pitchFamily="34" charset="0"/>
              </a:defRPr>
            </a:lvl1pPr>
            <a:lvl2pPr>
              <a:buFont typeface="Arial" pitchFamily="34" charset="0"/>
              <a:buChar char="•"/>
              <a:defRPr sz="1652" baseline="0">
                <a:solidFill>
                  <a:schemeClr val="tx1">
                    <a:lumMod val="50000"/>
                    <a:lumOff val="50000"/>
                  </a:schemeClr>
                </a:solidFill>
                <a:latin typeface="Trebuchet MS" pitchFamily="34" charset="0"/>
              </a:defRPr>
            </a:lvl2pPr>
          </a:lstStyle>
          <a:p>
            <a:pPr lvl="0"/>
            <a:r>
              <a:rPr lang="es-ES"/>
              <a:t>Nombre libro</a:t>
            </a:r>
          </a:p>
          <a:p>
            <a:pPr lvl="1"/>
            <a:r>
              <a:rPr lang="es-ES"/>
              <a:t>Autor / Edición  / página / </a:t>
            </a:r>
          </a:p>
          <a:p>
            <a:pPr lvl="0"/>
            <a:r>
              <a:rPr lang="es-ES"/>
              <a:t>Nombre sitio web</a:t>
            </a:r>
          </a:p>
          <a:p>
            <a:pPr lvl="1"/>
            <a:r>
              <a:rPr lang="es-ES"/>
              <a:t>Enlace / fecha</a:t>
            </a:r>
          </a:p>
          <a:p>
            <a:pPr lvl="0"/>
            <a:r>
              <a:rPr lang="es-ES"/>
              <a:t>Colaboradores</a:t>
            </a:r>
          </a:p>
          <a:p>
            <a:pPr lvl="1"/>
            <a:r>
              <a:rPr lang="es-CO"/>
              <a:t>Nombre colaborador</a:t>
            </a:r>
          </a:p>
        </p:txBody>
      </p:sp>
      <p:sp>
        <p:nvSpPr>
          <p:cNvPr id="6" name="1 Título"/>
          <p:cNvSpPr txBox="1">
            <a:spLocks/>
          </p:cNvSpPr>
          <p:nvPr/>
        </p:nvSpPr>
        <p:spPr>
          <a:xfrm>
            <a:off x="623392" y="1340768"/>
            <a:ext cx="10094912" cy="504056"/>
          </a:xfrm>
          <a:prstGeom prst="rect">
            <a:avLst/>
          </a:prstGeom>
        </p:spPr>
        <p:txBody>
          <a:bodyPr lIns="91433" tIns="45716" rIns="91433" bIns="45716">
            <a:normAutofit/>
          </a:bodyPr>
          <a:lstStyle>
            <a:lvl1pPr algn="l">
              <a:defRPr sz="2800" b="1">
                <a:solidFill>
                  <a:srgbClr val="007934"/>
                </a:solidFill>
                <a:latin typeface="Trebuchet MS" pitchFamily="34" charset="0"/>
              </a:defRPr>
            </a:lvl1pPr>
          </a:lstStyle>
          <a:p>
            <a:pPr marL="0" marR="0" lvl="0" indent="0" algn="l" defTabSz="914351" rtl="0" eaLnBrk="1" fontAlgn="auto" latinLnBrk="0" hangingPunct="1">
              <a:lnSpc>
                <a:spcPct val="100000"/>
              </a:lnSpc>
              <a:spcBef>
                <a:spcPct val="0"/>
              </a:spcBef>
              <a:spcAft>
                <a:spcPts val="0"/>
              </a:spcAft>
              <a:buClrTx/>
              <a:buSzTx/>
              <a:buFontTx/>
              <a:buNone/>
              <a:tabLst/>
              <a:defRPr/>
            </a:pPr>
            <a:endParaRPr kumimoji="0" lang="es-CO" sz="2403" b="1" i="0" u="none" strike="noStrike" kern="1200" cap="none" spc="0" normalizeH="0" baseline="0" noProof="0">
              <a:ln>
                <a:noFill/>
              </a:ln>
              <a:solidFill>
                <a:srgbClr val="5DBF0C"/>
              </a:solidFill>
              <a:effectLst/>
              <a:uLnTx/>
              <a:uFillTx/>
              <a:latin typeface="Trebuchet MS" pitchFamily="34" charset="0"/>
              <a:ea typeface="+mj-ea"/>
              <a:cs typeface="+mj-cs"/>
            </a:endParaRPr>
          </a:p>
        </p:txBody>
      </p:sp>
      <p:sp>
        <p:nvSpPr>
          <p:cNvPr id="7" name="6 Marcador de número de diapositiva"/>
          <p:cNvSpPr>
            <a:spLocks noGrp="1"/>
          </p:cNvSpPr>
          <p:nvPr>
            <p:ph type="sldNum" sz="quarter" idx="12"/>
          </p:nvPr>
        </p:nvSpPr>
        <p:spPr>
          <a:xfrm>
            <a:off x="11382453" y="6334408"/>
            <a:ext cx="809550" cy="365125"/>
          </a:xfrm>
          <a:prstGeom prst="rect">
            <a:avLst/>
          </a:prstGeom>
        </p:spPr>
        <p:txBody>
          <a:bodyPr lIns="121784" tIns="60891" rIns="121784" bIns="60891"/>
          <a:lstStyle>
            <a:lvl1pPr>
              <a:defRPr>
                <a:solidFill>
                  <a:schemeClr val="tx1">
                    <a:lumMod val="50000"/>
                    <a:lumOff val="50000"/>
                  </a:schemeClr>
                </a:solidFill>
                <a:latin typeface="Trebuchet MS" pitchFamily="34" charset="0"/>
              </a:defRPr>
            </a:lvl1pPr>
          </a:lstStyle>
          <a:p>
            <a:fld id="{67FF3989-745B-48C1-97D5-1E1D4E03331D}" type="slidenum">
              <a:rPr lang="es-CO" smtClean="0"/>
              <a:pPr/>
              <a:t>‹Nº›</a:t>
            </a:fld>
            <a:endParaRPr lang="es-CO"/>
          </a:p>
        </p:txBody>
      </p:sp>
    </p:spTree>
    <p:extLst>
      <p:ext uri="{BB962C8B-B14F-4D97-AF65-F5344CB8AC3E}">
        <p14:creationId xmlns:p14="http://schemas.microsoft.com/office/powerpoint/2010/main" val="42686430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in viñeta">
    <p:spTree>
      <p:nvGrpSpPr>
        <p:cNvPr id="1" name=""/>
        <p:cNvGrpSpPr/>
        <p:nvPr/>
      </p:nvGrpSpPr>
      <p:grpSpPr>
        <a:xfrm>
          <a:off x="0" y="0"/>
          <a:ext cx="0" cy="0"/>
          <a:chOff x="0" y="0"/>
          <a:chExt cx="0" cy="0"/>
        </a:xfrm>
      </p:grpSpPr>
      <p:sp>
        <p:nvSpPr>
          <p:cNvPr id="2" name="1 Título"/>
          <p:cNvSpPr>
            <a:spLocks noGrp="1"/>
          </p:cNvSpPr>
          <p:nvPr>
            <p:ph type="title"/>
          </p:nvPr>
        </p:nvSpPr>
        <p:spPr>
          <a:xfrm>
            <a:off x="609603" y="398933"/>
            <a:ext cx="8421948" cy="373433"/>
          </a:xfrm>
          <a:prstGeom prst="rect">
            <a:avLst/>
          </a:prstGeom>
        </p:spPr>
        <p:txBody>
          <a:bodyPr lIns="121784" tIns="60891" rIns="121784" bIns="60891"/>
          <a:lstStyle>
            <a:lvl1pPr algn="l">
              <a:defRPr sz="1652" b="1" i="1">
                <a:solidFill>
                  <a:schemeClr val="accent3"/>
                </a:solidFill>
              </a:defRPr>
            </a:lvl1pPr>
          </a:lstStyle>
          <a:p>
            <a:r>
              <a:rPr lang="es-ES"/>
              <a:t>Haga clic para modificar el estilo de título del patrón</a:t>
            </a:r>
            <a:endParaRPr lang="es-CO"/>
          </a:p>
        </p:txBody>
      </p:sp>
      <p:sp>
        <p:nvSpPr>
          <p:cNvPr id="6" name="5 Marcador de texto"/>
          <p:cNvSpPr>
            <a:spLocks noGrp="1"/>
          </p:cNvSpPr>
          <p:nvPr>
            <p:ph type="body" sz="quarter" idx="10"/>
          </p:nvPr>
        </p:nvSpPr>
        <p:spPr>
          <a:xfrm>
            <a:off x="615520" y="936594"/>
            <a:ext cx="11031987" cy="4984812"/>
          </a:xfrm>
          <a:prstGeom prst="rect">
            <a:avLst/>
          </a:prstGeom>
        </p:spPr>
        <p:txBody>
          <a:bodyPr lIns="121784" tIns="60891" rIns="121784" bIns="60891" anchor="ctr"/>
          <a:lstStyle>
            <a:lvl1pPr algn="l">
              <a:buFontTx/>
              <a:buNone/>
              <a:defRPr sz="1802">
                <a:solidFill>
                  <a:schemeClr val="tx1"/>
                </a:solidFill>
              </a:defRPr>
            </a:lvl1pPr>
          </a:lstStyle>
          <a:p>
            <a:pPr lvl="0"/>
            <a:r>
              <a:rPr lang="es-ES"/>
              <a:t>Haga clic para modificar el estilo de texto del patrón</a:t>
            </a:r>
          </a:p>
        </p:txBody>
      </p:sp>
    </p:spTree>
    <p:extLst>
      <p:ext uri="{BB962C8B-B14F-4D97-AF65-F5344CB8AC3E}">
        <p14:creationId xmlns:p14="http://schemas.microsoft.com/office/powerpoint/2010/main" val="15618360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eparador 02">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26326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Diapositiva inicial">
    <p:spTree>
      <p:nvGrpSpPr>
        <p:cNvPr id="1" name=""/>
        <p:cNvGrpSpPr/>
        <p:nvPr/>
      </p:nvGrpSpPr>
      <p:grpSpPr>
        <a:xfrm>
          <a:off x="0" y="0"/>
          <a:ext cx="0" cy="0"/>
          <a:chOff x="0" y="0"/>
          <a:chExt cx="0" cy="0"/>
        </a:xfrm>
      </p:grpSpPr>
      <p:pic>
        <p:nvPicPr>
          <p:cNvPr id="7" name="6 Imagen" descr="PlantillaInicialPresentacion.jpg"/>
          <p:cNvPicPr>
            <a:picLocks noChangeAspect="1"/>
          </p:cNvPicPr>
          <p:nvPr userDrawn="1"/>
        </p:nvPicPr>
        <p:blipFill>
          <a:blip r:embed="rId2" cstate="print"/>
          <a:stretch>
            <a:fillRect/>
          </a:stretch>
        </p:blipFill>
        <p:spPr>
          <a:xfrm>
            <a:off x="0" y="0"/>
            <a:ext cx="12192000" cy="6858000"/>
          </a:xfrm>
          <a:prstGeom prst="rect">
            <a:avLst/>
          </a:prstGeom>
        </p:spPr>
      </p:pic>
    </p:spTree>
    <p:extLst>
      <p:ext uri="{BB962C8B-B14F-4D97-AF65-F5344CB8AC3E}">
        <p14:creationId xmlns:p14="http://schemas.microsoft.com/office/powerpoint/2010/main" val="14883904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Diapositiva título presentación">
    <p:spTree>
      <p:nvGrpSpPr>
        <p:cNvPr id="1" name=""/>
        <p:cNvGrpSpPr/>
        <p:nvPr/>
      </p:nvGrpSpPr>
      <p:grpSpPr>
        <a:xfrm>
          <a:off x="0" y="0"/>
          <a:ext cx="0" cy="0"/>
          <a:chOff x="0" y="0"/>
          <a:chExt cx="0" cy="0"/>
        </a:xfrm>
      </p:grpSpPr>
      <p:pic>
        <p:nvPicPr>
          <p:cNvPr id="4" name="3 Imagen" descr="04_Plantilla_contenidos.jpg"/>
          <p:cNvPicPr>
            <a:picLocks noChangeAspect="1"/>
          </p:cNvPicPr>
          <p:nvPr userDrawn="1"/>
        </p:nvPicPr>
        <p:blipFill>
          <a:blip r:embed="rId2" cstate="print"/>
          <a:stretch>
            <a:fillRect/>
          </a:stretch>
        </p:blipFill>
        <p:spPr>
          <a:xfrm>
            <a:off x="0" y="0"/>
            <a:ext cx="12192000" cy="6858000"/>
          </a:xfrm>
          <a:prstGeom prst="rect">
            <a:avLst/>
          </a:prstGeom>
        </p:spPr>
      </p:pic>
      <p:sp>
        <p:nvSpPr>
          <p:cNvPr id="2" name="1 Título"/>
          <p:cNvSpPr>
            <a:spLocks noGrp="1"/>
          </p:cNvSpPr>
          <p:nvPr>
            <p:ph type="title" hasCustomPrompt="1"/>
          </p:nvPr>
        </p:nvSpPr>
        <p:spPr>
          <a:xfrm>
            <a:off x="1487488" y="2780928"/>
            <a:ext cx="9025003" cy="1362075"/>
          </a:xfrm>
          <a:prstGeom prst="rect">
            <a:avLst/>
          </a:prstGeom>
        </p:spPr>
        <p:txBody>
          <a:bodyPr lIns="121784" tIns="60891" rIns="121784" bIns="60891" anchor="t"/>
          <a:lstStyle>
            <a:lvl1pPr algn="ctr">
              <a:lnSpc>
                <a:spcPts val="4000"/>
              </a:lnSpc>
              <a:defRPr lang="es-CO" sz="3979" b="1" baseline="0" dirty="0">
                <a:solidFill>
                  <a:srgbClr val="007934"/>
                </a:solidFill>
                <a:latin typeface="Trebuchet MS" pitchFamily="34" charset="0"/>
              </a:defRPr>
            </a:lvl1pPr>
          </a:lstStyle>
          <a:p>
            <a:r>
              <a:rPr lang="es-ES"/>
              <a:t>Título principal de la</a:t>
            </a:r>
            <a:br>
              <a:rPr lang="es-ES"/>
            </a:br>
            <a:r>
              <a:rPr lang="es-ES"/>
              <a:t>Presentación</a:t>
            </a:r>
            <a:endParaRPr lang="es-CO"/>
          </a:p>
        </p:txBody>
      </p:sp>
    </p:spTree>
    <p:extLst>
      <p:ext uri="{BB962C8B-B14F-4D97-AF65-F5344CB8AC3E}">
        <p14:creationId xmlns:p14="http://schemas.microsoft.com/office/powerpoint/2010/main" val="3019486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Diapositiva título - subtítulo">
    <p:spTree>
      <p:nvGrpSpPr>
        <p:cNvPr id="1" name=""/>
        <p:cNvGrpSpPr/>
        <p:nvPr/>
      </p:nvGrpSpPr>
      <p:grpSpPr>
        <a:xfrm>
          <a:off x="0" y="0"/>
          <a:ext cx="0" cy="0"/>
          <a:chOff x="0" y="0"/>
          <a:chExt cx="0" cy="0"/>
        </a:xfrm>
      </p:grpSpPr>
      <p:pic>
        <p:nvPicPr>
          <p:cNvPr id="8" name="7 Imagen" descr="04_Plantilla_contenidos.jpg"/>
          <p:cNvPicPr>
            <a:picLocks noChangeAspect="1"/>
          </p:cNvPicPr>
          <p:nvPr userDrawn="1"/>
        </p:nvPicPr>
        <p:blipFill>
          <a:blip r:embed="rId2" cstate="print"/>
          <a:stretch>
            <a:fillRect/>
          </a:stretch>
        </p:blipFill>
        <p:spPr>
          <a:xfrm>
            <a:off x="0" y="0"/>
            <a:ext cx="12192000" cy="6858000"/>
          </a:xfrm>
          <a:prstGeom prst="rect">
            <a:avLst/>
          </a:prstGeom>
        </p:spPr>
      </p:pic>
      <p:sp>
        <p:nvSpPr>
          <p:cNvPr id="2" name="1 Título"/>
          <p:cNvSpPr>
            <a:spLocks noGrp="1"/>
          </p:cNvSpPr>
          <p:nvPr>
            <p:ph type="title" hasCustomPrompt="1"/>
          </p:nvPr>
        </p:nvSpPr>
        <p:spPr>
          <a:xfrm>
            <a:off x="719402" y="1844824"/>
            <a:ext cx="5088567" cy="3384376"/>
          </a:xfrm>
          <a:prstGeom prst="rect">
            <a:avLst/>
          </a:prstGeom>
        </p:spPr>
        <p:txBody>
          <a:bodyPr lIns="121784" tIns="60891" rIns="121784" bIns="60891"/>
          <a:lstStyle>
            <a:lvl1pPr algn="just">
              <a:defRPr sz="1802">
                <a:solidFill>
                  <a:schemeClr val="tx1">
                    <a:lumMod val="65000"/>
                    <a:lumOff val="35000"/>
                  </a:schemeClr>
                </a:solidFill>
                <a:latin typeface="Trebuchet MS" pitchFamily="34" charset="0"/>
              </a:defRPr>
            </a:lvl1pPr>
          </a:lstStyle>
          <a:p>
            <a:r>
              <a:rPr lang="es-ES"/>
              <a:t>Texto párrafo subtema, escriba aquí la información relacionada con el subtema. Texto párrafo subtema, escriba aquí la información relacionada con el subtema. Texto párrafo subtema, escriba aquí la información relacionada con el subtema. Texto párrafo subtema, escriba aquí la información relacionada con el subtema.</a:t>
            </a:r>
            <a:endParaRPr lang="es-CO"/>
          </a:p>
        </p:txBody>
      </p:sp>
      <p:sp>
        <p:nvSpPr>
          <p:cNvPr id="6" name="2 Marcador de texto"/>
          <p:cNvSpPr>
            <a:spLocks noGrp="1"/>
          </p:cNvSpPr>
          <p:nvPr>
            <p:ph type="body" idx="15" hasCustomPrompt="1"/>
          </p:nvPr>
        </p:nvSpPr>
        <p:spPr>
          <a:xfrm>
            <a:off x="725355" y="1340768"/>
            <a:ext cx="10363200" cy="432048"/>
          </a:xfrm>
          <a:prstGeom prst="rect">
            <a:avLst/>
          </a:prstGeom>
        </p:spPr>
        <p:txBody>
          <a:bodyPr lIns="121784" tIns="60891" rIns="121784" bIns="60891" anchor="b"/>
          <a:lstStyle>
            <a:lvl1pPr marL="0" indent="0">
              <a:buNone/>
              <a:defRPr sz="2403" b="1" baseline="0">
                <a:solidFill>
                  <a:srgbClr val="5DBF0C"/>
                </a:solidFill>
                <a:latin typeface="Trebuchet MS" pitchFamily="34" charset="0"/>
              </a:defRPr>
            </a:lvl1pPr>
            <a:lvl2pPr marL="457176" indent="0">
              <a:buNone/>
              <a:defRPr sz="1802">
                <a:solidFill>
                  <a:schemeClr val="tx1">
                    <a:tint val="75000"/>
                  </a:schemeClr>
                </a:solidFill>
              </a:defRPr>
            </a:lvl2pPr>
            <a:lvl3pPr marL="914351" indent="0">
              <a:buNone/>
              <a:defRPr sz="1652">
                <a:solidFill>
                  <a:schemeClr val="tx1">
                    <a:tint val="75000"/>
                  </a:schemeClr>
                </a:solidFill>
              </a:defRPr>
            </a:lvl3pPr>
            <a:lvl4pPr marL="1371527" indent="0">
              <a:buNone/>
              <a:defRPr sz="1427">
                <a:solidFill>
                  <a:schemeClr val="tx1">
                    <a:tint val="75000"/>
                  </a:schemeClr>
                </a:solidFill>
              </a:defRPr>
            </a:lvl4pPr>
            <a:lvl5pPr marL="1828703" indent="0">
              <a:buNone/>
              <a:defRPr sz="1427">
                <a:solidFill>
                  <a:schemeClr val="tx1">
                    <a:tint val="75000"/>
                  </a:schemeClr>
                </a:solidFill>
              </a:defRPr>
            </a:lvl5pPr>
            <a:lvl6pPr marL="2285878" indent="0">
              <a:buNone/>
              <a:defRPr sz="1427">
                <a:solidFill>
                  <a:schemeClr val="tx1">
                    <a:tint val="75000"/>
                  </a:schemeClr>
                </a:solidFill>
              </a:defRPr>
            </a:lvl6pPr>
            <a:lvl7pPr marL="2743054" indent="0">
              <a:buNone/>
              <a:defRPr sz="1427">
                <a:solidFill>
                  <a:schemeClr val="tx1">
                    <a:tint val="75000"/>
                  </a:schemeClr>
                </a:solidFill>
              </a:defRPr>
            </a:lvl7pPr>
            <a:lvl8pPr marL="3200229" indent="0">
              <a:buNone/>
              <a:defRPr sz="1427">
                <a:solidFill>
                  <a:schemeClr val="tx1">
                    <a:tint val="75000"/>
                  </a:schemeClr>
                </a:solidFill>
              </a:defRPr>
            </a:lvl8pPr>
            <a:lvl9pPr marL="3657405" indent="0">
              <a:buNone/>
              <a:defRPr sz="1427">
                <a:solidFill>
                  <a:schemeClr val="tx1">
                    <a:tint val="75000"/>
                  </a:schemeClr>
                </a:solidFill>
              </a:defRPr>
            </a:lvl9pPr>
          </a:lstStyle>
          <a:p>
            <a:pPr lvl="0"/>
            <a:r>
              <a:rPr lang="es-ES"/>
              <a:t>Subtítulo diapositiva</a:t>
            </a:r>
          </a:p>
        </p:txBody>
      </p:sp>
      <p:sp>
        <p:nvSpPr>
          <p:cNvPr id="7" name="2 Marcador de texto"/>
          <p:cNvSpPr>
            <a:spLocks noGrp="1"/>
          </p:cNvSpPr>
          <p:nvPr>
            <p:ph type="body" idx="13" hasCustomPrompt="1"/>
          </p:nvPr>
        </p:nvSpPr>
        <p:spPr>
          <a:xfrm>
            <a:off x="719404" y="260650"/>
            <a:ext cx="10363200" cy="288032"/>
          </a:xfrm>
          <a:prstGeom prst="rect">
            <a:avLst/>
          </a:prstGeom>
        </p:spPr>
        <p:txBody>
          <a:bodyPr lIns="121784" tIns="60891" rIns="121784" bIns="60891" anchor="b"/>
          <a:lstStyle>
            <a:lvl1pPr marL="0" indent="0">
              <a:buNone/>
              <a:defRPr sz="1427" baseline="0">
                <a:solidFill>
                  <a:schemeClr val="tx1">
                    <a:tint val="75000"/>
                  </a:schemeClr>
                </a:solidFill>
                <a:latin typeface="Trebuchet MS" pitchFamily="34" charset="0"/>
              </a:defRPr>
            </a:lvl1pPr>
            <a:lvl2pPr marL="457176" indent="0">
              <a:buNone/>
              <a:defRPr sz="1802">
                <a:solidFill>
                  <a:schemeClr val="tx1">
                    <a:tint val="75000"/>
                  </a:schemeClr>
                </a:solidFill>
              </a:defRPr>
            </a:lvl2pPr>
            <a:lvl3pPr marL="914351" indent="0">
              <a:buNone/>
              <a:defRPr sz="1652">
                <a:solidFill>
                  <a:schemeClr val="tx1">
                    <a:tint val="75000"/>
                  </a:schemeClr>
                </a:solidFill>
              </a:defRPr>
            </a:lvl3pPr>
            <a:lvl4pPr marL="1371527" indent="0">
              <a:buNone/>
              <a:defRPr sz="1427">
                <a:solidFill>
                  <a:schemeClr val="tx1">
                    <a:tint val="75000"/>
                  </a:schemeClr>
                </a:solidFill>
              </a:defRPr>
            </a:lvl4pPr>
            <a:lvl5pPr marL="1828703" indent="0">
              <a:buNone/>
              <a:defRPr sz="1427">
                <a:solidFill>
                  <a:schemeClr val="tx1">
                    <a:tint val="75000"/>
                  </a:schemeClr>
                </a:solidFill>
              </a:defRPr>
            </a:lvl5pPr>
            <a:lvl6pPr marL="2285878" indent="0">
              <a:buNone/>
              <a:defRPr sz="1427">
                <a:solidFill>
                  <a:schemeClr val="tx1">
                    <a:tint val="75000"/>
                  </a:schemeClr>
                </a:solidFill>
              </a:defRPr>
            </a:lvl6pPr>
            <a:lvl7pPr marL="2743054" indent="0">
              <a:buNone/>
              <a:defRPr sz="1427">
                <a:solidFill>
                  <a:schemeClr val="tx1">
                    <a:tint val="75000"/>
                  </a:schemeClr>
                </a:solidFill>
              </a:defRPr>
            </a:lvl7pPr>
            <a:lvl8pPr marL="3200229" indent="0">
              <a:buNone/>
              <a:defRPr sz="1427">
                <a:solidFill>
                  <a:schemeClr val="tx1">
                    <a:tint val="75000"/>
                  </a:schemeClr>
                </a:solidFill>
              </a:defRPr>
            </a:lvl8pPr>
            <a:lvl9pPr marL="3657405" indent="0">
              <a:buNone/>
              <a:defRPr sz="1427">
                <a:solidFill>
                  <a:schemeClr val="tx1">
                    <a:tint val="75000"/>
                  </a:schemeClr>
                </a:solidFill>
              </a:defRPr>
            </a:lvl9pPr>
          </a:lstStyle>
          <a:p>
            <a:pPr lvl="0"/>
            <a:r>
              <a:rPr lang="es-ES"/>
              <a:t>Tema principal presentación</a:t>
            </a:r>
          </a:p>
        </p:txBody>
      </p:sp>
      <p:sp>
        <p:nvSpPr>
          <p:cNvPr id="11" name="2 Marcador de texto"/>
          <p:cNvSpPr>
            <a:spLocks noGrp="1"/>
          </p:cNvSpPr>
          <p:nvPr>
            <p:ph type="body" idx="14" hasCustomPrompt="1"/>
          </p:nvPr>
        </p:nvSpPr>
        <p:spPr>
          <a:xfrm>
            <a:off x="725355" y="548680"/>
            <a:ext cx="10363200" cy="432048"/>
          </a:xfrm>
          <a:prstGeom prst="rect">
            <a:avLst/>
          </a:prstGeom>
        </p:spPr>
        <p:txBody>
          <a:bodyPr lIns="121784" tIns="60891" rIns="121784" bIns="60891" anchor="b"/>
          <a:lstStyle>
            <a:lvl1pPr marL="0" indent="0">
              <a:buNone/>
              <a:defRPr sz="3228" b="1" baseline="0">
                <a:solidFill>
                  <a:srgbClr val="007934"/>
                </a:solidFill>
                <a:latin typeface="Trebuchet MS" pitchFamily="34" charset="0"/>
              </a:defRPr>
            </a:lvl1pPr>
            <a:lvl2pPr marL="457176" indent="0">
              <a:buNone/>
              <a:defRPr sz="1802">
                <a:solidFill>
                  <a:schemeClr val="tx1">
                    <a:tint val="75000"/>
                  </a:schemeClr>
                </a:solidFill>
              </a:defRPr>
            </a:lvl2pPr>
            <a:lvl3pPr marL="914351" indent="0">
              <a:buNone/>
              <a:defRPr sz="1652">
                <a:solidFill>
                  <a:schemeClr val="tx1">
                    <a:tint val="75000"/>
                  </a:schemeClr>
                </a:solidFill>
              </a:defRPr>
            </a:lvl3pPr>
            <a:lvl4pPr marL="1371527" indent="0">
              <a:buNone/>
              <a:defRPr sz="1427">
                <a:solidFill>
                  <a:schemeClr val="tx1">
                    <a:tint val="75000"/>
                  </a:schemeClr>
                </a:solidFill>
              </a:defRPr>
            </a:lvl4pPr>
            <a:lvl5pPr marL="1828703" indent="0">
              <a:buNone/>
              <a:defRPr sz="1427">
                <a:solidFill>
                  <a:schemeClr val="tx1">
                    <a:tint val="75000"/>
                  </a:schemeClr>
                </a:solidFill>
              </a:defRPr>
            </a:lvl5pPr>
            <a:lvl6pPr marL="2285878" indent="0">
              <a:buNone/>
              <a:defRPr sz="1427">
                <a:solidFill>
                  <a:schemeClr val="tx1">
                    <a:tint val="75000"/>
                  </a:schemeClr>
                </a:solidFill>
              </a:defRPr>
            </a:lvl6pPr>
            <a:lvl7pPr marL="2743054" indent="0">
              <a:buNone/>
              <a:defRPr sz="1427">
                <a:solidFill>
                  <a:schemeClr val="tx1">
                    <a:tint val="75000"/>
                  </a:schemeClr>
                </a:solidFill>
              </a:defRPr>
            </a:lvl7pPr>
            <a:lvl8pPr marL="3200229" indent="0">
              <a:buNone/>
              <a:defRPr sz="1427">
                <a:solidFill>
                  <a:schemeClr val="tx1">
                    <a:tint val="75000"/>
                  </a:schemeClr>
                </a:solidFill>
              </a:defRPr>
            </a:lvl8pPr>
            <a:lvl9pPr marL="3657405" indent="0">
              <a:buNone/>
              <a:defRPr sz="1427">
                <a:solidFill>
                  <a:schemeClr val="tx1">
                    <a:tint val="75000"/>
                  </a:schemeClr>
                </a:solidFill>
              </a:defRPr>
            </a:lvl9pPr>
          </a:lstStyle>
          <a:p>
            <a:pPr lvl="0"/>
            <a:r>
              <a:rPr lang="es-ES"/>
              <a:t>Título diapositiva</a:t>
            </a:r>
          </a:p>
        </p:txBody>
      </p:sp>
      <p:sp>
        <p:nvSpPr>
          <p:cNvPr id="9" name="6 Marcador de número de diapositiva"/>
          <p:cNvSpPr>
            <a:spLocks noGrp="1"/>
          </p:cNvSpPr>
          <p:nvPr>
            <p:ph type="sldNum" sz="quarter" idx="12"/>
          </p:nvPr>
        </p:nvSpPr>
        <p:spPr>
          <a:xfrm>
            <a:off x="11382452" y="6334405"/>
            <a:ext cx="809550" cy="365125"/>
          </a:xfrm>
          <a:prstGeom prst="rect">
            <a:avLst/>
          </a:prstGeom>
        </p:spPr>
        <p:txBody>
          <a:bodyPr lIns="121784" tIns="60891" rIns="121784" bIns="60891"/>
          <a:lstStyle>
            <a:lvl1pPr>
              <a:defRPr>
                <a:solidFill>
                  <a:schemeClr val="tx1">
                    <a:lumMod val="50000"/>
                    <a:lumOff val="50000"/>
                  </a:schemeClr>
                </a:solidFill>
                <a:latin typeface="Trebuchet MS" pitchFamily="34" charset="0"/>
              </a:defRPr>
            </a:lvl1pPr>
          </a:lstStyle>
          <a:p>
            <a:fld id="{6A390CAE-5A1D-442A-B9F1-736C12844423}" type="slidenum">
              <a:rPr lang="es-CO" smtClean="0">
                <a:solidFill>
                  <a:srgbClr val="2F2F2F">
                    <a:lumMod val="50000"/>
                    <a:lumOff val="50000"/>
                  </a:srgbClr>
                </a:solidFill>
              </a:rPr>
              <a:pPr/>
              <a:t>‹Nº›</a:t>
            </a:fld>
            <a:endParaRPr lang="es-CO">
              <a:solidFill>
                <a:srgbClr val="2F2F2F">
                  <a:lumMod val="50000"/>
                  <a:lumOff val="50000"/>
                </a:srgbClr>
              </a:solidFill>
            </a:endParaRPr>
          </a:p>
        </p:txBody>
      </p:sp>
    </p:spTree>
    <p:extLst>
      <p:ext uri="{BB962C8B-B14F-4D97-AF65-F5344CB8AC3E}">
        <p14:creationId xmlns:p14="http://schemas.microsoft.com/office/powerpoint/2010/main" val="27763357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_Diseño personalizado">
    <p:spTree>
      <p:nvGrpSpPr>
        <p:cNvPr id="1" name=""/>
        <p:cNvGrpSpPr/>
        <p:nvPr/>
      </p:nvGrpSpPr>
      <p:grpSpPr>
        <a:xfrm>
          <a:off x="0" y="0"/>
          <a:ext cx="0" cy="0"/>
          <a:chOff x="0" y="0"/>
          <a:chExt cx="0" cy="0"/>
        </a:xfrm>
      </p:grpSpPr>
      <p:pic>
        <p:nvPicPr>
          <p:cNvPr id="8" name="7 Imagen" descr="04_Plantilla_contenidos.jpg"/>
          <p:cNvPicPr>
            <a:picLocks noChangeAspect="1"/>
          </p:cNvPicPr>
          <p:nvPr userDrawn="1"/>
        </p:nvPicPr>
        <p:blipFill>
          <a:blip r:embed="rId2" cstate="print"/>
          <a:stretch>
            <a:fillRect/>
          </a:stretch>
        </p:blipFill>
        <p:spPr>
          <a:xfrm>
            <a:off x="0" y="0"/>
            <a:ext cx="12192000" cy="6858000"/>
          </a:xfrm>
          <a:prstGeom prst="rect">
            <a:avLst/>
          </a:prstGeom>
        </p:spPr>
      </p:pic>
      <p:sp>
        <p:nvSpPr>
          <p:cNvPr id="4" name="1 Título"/>
          <p:cNvSpPr>
            <a:spLocks noGrp="1"/>
          </p:cNvSpPr>
          <p:nvPr>
            <p:ph type="title" hasCustomPrompt="1"/>
          </p:nvPr>
        </p:nvSpPr>
        <p:spPr>
          <a:xfrm>
            <a:off x="623392" y="332656"/>
            <a:ext cx="10094912" cy="792088"/>
          </a:xfrm>
          <a:prstGeom prst="rect">
            <a:avLst/>
          </a:prstGeom>
        </p:spPr>
        <p:txBody>
          <a:bodyPr lIns="121784" tIns="60891" rIns="121784" bIns="60891">
            <a:normAutofit/>
          </a:bodyPr>
          <a:lstStyle>
            <a:lvl1pPr algn="l">
              <a:defRPr sz="2778" b="1" baseline="0">
                <a:solidFill>
                  <a:srgbClr val="007934"/>
                </a:solidFill>
                <a:latin typeface="Trebuchet MS" pitchFamily="34" charset="0"/>
              </a:defRPr>
            </a:lvl1pPr>
          </a:lstStyle>
          <a:p>
            <a:r>
              <a:rPr lang="es-ES"/>
              <a:t>Contacto</a:t>
            </a:r>
            <a:endParaRPr lang="es-CO"/>
          </a:p>
        </p:txBody>
      </p:sp>
      <p:sp>
        <p:nvSpPr>
          <p:cNvPr id="5" name="2 Marcador de contenido"/>
          <p:cNvSpPr>
            <a:spLocks noGrp="1"/>
          </p:cNvSpPr>
          <p:nvPr>
            <p:ph idx="1" hasCustomPrompt="1"/>
          </p:nvPr>
        </p:nvSpPr>
        <p:spPr>
          <a:xfrm>
            <a:off x="609600" y="1463041"/>
            <a:ext cx="10574967" cy="4126201"/>
          </a:xfrm>
          <a:prstGeom prst="rect">
            <a:avLst/>
          </a:prstGeom>
        </p:spPr>
        <p:txBody>
          <a:bodyPr lIns="121784" tIns="60891" rIns="121784" bIns="60891">
            <a:normAutofit/>
          </a:bodyPr>
          <a:lstStyle>
            <a:lvl1pPr>
              <a:buFont typeface="Courier New" pitchFamily="49" charset="0"/>
              <a:buChar char="o"/>
              <a:defRPr sz="2027" b="1" baseline="0">
                <a:solidFill>
                  <a:schemeClr val="tx1">
                    <a:lumMod val="65000"/>
                    <a:lumOff val="35000"/>
                  </a:schemeClr>
                </a:solidFill>
                <a:latin typeface="Trebuchet MS" pitchFamily="34" charset="0"/>
              </a:defRPr>
            </a:lvl1pPr>
            <a:lvl2pPr>
              <a:buFont typeface="Arial" pitchFamily="34" charset="0"/>
              <a:buChar char="•"/>
              <a:defRPr sz="1652" baseline="0">
                <a:solidFill>
                  <a:schemeClr val="tx1">
                    <a:lumMod val="50000"/>
                    <a:lumOff val="50000"/>
                  </a:schemeClr>
                </a:solidFill>
                <a:latin typeface="Trebuchet MS" pitchFamily="34" charset="0"/>
              </a:defRPr>
            </a:lvl2pPr>
          </a:lstStyle>
          <a:p>
            <a:pPr lvl="0"/>
            <a:r>
              <a:rPr lang="es-ES"/>
              <a:t>Nombre expositor</a:t>
            </a:r>
          </a:p>
          <a:p>
            <a:pPr marL="719099" lvl="1" indent="0">
              <a:lnSpc>
                <a:spcPct val="150000"/>
              </a:lnSpc>
              <a:buNone/>
            </a:pPr>
            <a:r>
              <a:rPr lang="es-CO"/>
              <a:t>correoexpositor@epm.com.co</a:t>
            </a:r>
            <a:br>
              <a:rPr lang="es-CO"/>
            </a:br>
            <a:r>
              <a:rPr lang="es-CO"/>
              <a:t>Teléfono: +57-4 380 8080 </a:t>
            </a:r>
            <a:br>
              <a:rPr lang="es-CO"/>
            </a:br>
            <a:r>
              <a:rPr lang="es-CO"/>
              <a:t>Móvil: 300 123 4567</a:t>
            </a:r>
          </a:p>
          <a:p>
            <a:pPr marL="719099" lvl="1" indent="0">
              <a:lnSpc>
                <a:spcPct val="150000"/>
              </a:lnSpc>
              <a:buNone/>
            </a:pPr>
            <a:r>
              <a:rPr lang="es-CO"/>
              <a:t>Fax: +57-4 265 9350 </a:t>
            </a:r>
            <a:endParaRPr lang="es-ES"/>
          </a:p>
        </p:txBody>
      </p:sp>
      <p:sp>
        <p:nvSpPr>
          <p:cNvPr id="6" name="1 Título"/>
          <p:cNvSpPr txBox="1">
            <a:spLocks/>
          </p:cNvSpPr>
          <p:nvPr userDrawn="1"/>
        </p:nvSpPr>
        <p:spPr>
          <a:xfrm>
            <a:off x="623392" y="1340768"/>
            <a:ext cx="10094912" cy="504056"/>
          </a:xfrm>
          <a:prstGeom prst="rect">
            <a:avLst/>
          </a:prstGeom>
        </p:spPr>
        <p:txBody>
          <a:bodyPr lIns="91433" tIns="45716" rIns="91433" bIns="45716">
            <a:normAutofit/>
          </a:bodyPr>
          <a:lstStyle>
            <a:lvl1pPr algn="l">
              <a:defRPr sz="2800" b="1">
                <a:solidFill>
                  <a:srgbClr val="007934"/>
                </a:solidFill>
                <a:latin typeface="Trebuchet MS" pitchFamily="34" charset="0"/>
              </a:defRPr>
            </a:lvl1pPr>
          </a:lstStyle>
          <a:p>
            <a:pPr>
              <a:spcBef>
                <a:spcPct val="0"/>
              </a:spcBef>
              <a:defRPr/>
            </a:pPr>
            <a:endParaRPr lang="es-CO" sz="2403">
              <a:solidFill>
                <a:srgbClr val="5DBF0C"/>
              </a:solidFill>
            </a:endParaRPr>
          </a:p>
        </p:txBody>
      </p:sp>
      <p:sp>
        <p:nvSpPr>
          <p:cNvPr id="7" name="6 Marcador de número de diapositiva"/>
          <p:cNvSpPr>
            <a:spLocks noGrp="1"/>
          </p:cNvSpPr>
          <p:nvPr>
            <p:ph type="sldNum" sz="quarter" idx="12"/>
          </p:nvPr>
        </p:nvSpPr>
        <p:spPr>
          <a:xfrm>
            <a:off x="11382452" y="6334405"/>
            <a:ext cx="809550" cy="365125"/>
          </a:xfrm>
          <a:prstGeom prst="rect">
            <a:avLst/>
          </a:prstGeom>
        </p:spPr>
        <p:txBody>
          <a:bodyPr lIns="121784" tIns="60891" rIns="121784" bIns="60891"/>
          <a:lstStyle>
            <a:lvl1pPr>
              <a:defRPr>
                <a:solidFill>
                  <a:schemeClr val="tx1">
                    <a:lumMod val="50000"/>
                    <a:lumOff val="50000"/>
                  </a:schemeClr>
                </a:solidFill>
                <a:latin typeface="Trebuchet MS" pitchFamily="34" charset="0"/>
              </a:defRPr>
            </a:lvl1pPr>
          </a:lstStyle>
          <a:p>
            <a:fld id="{6A390CAE-5A1D-442A-B9F1-736C12844423}" type="slidenum">
              <a:rPr lang="es-CO" smtClean="0">
                <a:solidFill>
                  <a:srgbClr val="2F2F2F">
                    <a:lumMod val="50000"/>
                    <a:lumOff val="50000"/>
                  </a:srgbClr>
                </a:solidFill>
              </a:rPr>
              <a:pPr/>
              <a:t>‹Nº›</a:t>
            </a:fld>
            <a:endParaRPr lang="es-CO">
              <a:solidFill>
                <a:srgbClr val="2F2F2F">
                  <a:lumMod val="50000"/>
                  <a:lumOff val="50000"/>
                </a:srgbClr>
              </a:solidFill>
            </a:endParaRPr>
          </a:p>
        </p:txBody>
      </p:sp>
    </p:spTree>
    <p:extLst>
      <p:ext uri="{BB962C8B-B14F-4D97-AF65-F5344CB8AC3E}">
        <p14:creationId xmlns:p14="http://schemas.microsoft.com/office/powerpoint/2010/main" val="14749015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9_Diseño personalizado">
    <p:spTree>
      <p:nvGrpSpPr>
        <p:cNvPr id="1" name=""/>
        <p:cNvGrpSpPr/>
        <p:nvPr/>
      </p:nvGrpSpPr>
      <p:grpSpPr>
        <a:xfrm>
          <a:off x="0" y="0"/>
          <a:ext cx="0" cy="0"/>
          <a:chOff x="0" y="0"/>
          <a:chExt cx="0" cy="0"/>
        </a:xfrm>
      </p:grpSpPr>
      <p:pic>
        <p:nvPicPr>
          <p:cNvPr id="8" name="7 Imagen" descr="04_Plantilla_contenidos.jpg"/>
          <p:cNvPicPr>
            <a:picLocks noChangeAspect="1"/>
          </p:cNvPicPr>
          <p:nvPr userDrawn="1"/>
        </p:nvPicPr>
        <p:blipFill>
          <a:blip r:embed="rId2" cstate="print"/>
          <a:stretch>
            <a:fillRect/>
          </a:stretch>
        </p:blipFill>
        <p:spPr>
          <a:xfrm>
            <a:off x="0" y="0"/>
            <a:ext cx="12192000" cy="6858000"/>
          </a:xfrm>
          <a:prstGeom prst="rect">
            <a:avLst/>
          </a:prstGeom>
        </p:spPr>
      </p:pic>
      <p:sp>
        <p:nvSpPr>
          <p:cNvPr id="4" name="1 Título"/>
          <p:cNvSpPr>
            <a:spLocks noGrp="1"/>
          </p:cNvSpPr>
          <p:nvPr>
            <p:ph type="title" hasCustomPrompt="1"/>
          </p:nvPr>
        </p:nvSpPr>
        <p:spPr>
          <a:xfrm>
            <a:off x="623392" y="332656"/>
            <a:ext cx="10094912" cy="792088"/>
          </a:xfrm>
          <a:prstGeom prst="rect">
            <a:avLst/>
          </a:prstGeom>
        </p:spPr>
        <p:txBody>
          <a:bodyPr lIns="121784" tIns="60891" rIns="121784" bIns="60891">
            <a:normAutofit/>
          </a:bodyPr>
          <a:lstStyle>
            <a:lvl1pPr algn="l">
              <a:defRPr sz="2778" b="1" baseline="0">
                <a:solidFill>
                  <a:srgbClr val="007934"/>
                </a:solidFill>
                <a:latin typeface="Trebuchet MS" pitchFamily="34" charset="0"/>
              </a:defRPr>
            </a:lvl1pPr>
          </a:lstStyle>
          <a:p>
            <a:r>
              <a:rPr lang="es-ES"/>
              <a:t>Bibliografía / </a:t>
            </a:r>
            <a:r>
              <a:rPr lang="es-ES" err="1"/>
              <a:t>cibergrafía</a:t>
            </a:r>
            <a:r>
              <a:rPr lang="es-ES"/>
              <a:t> / créditos</a:t>
            </a:r>
            <a:endParaRPr lang="es-CO"/>
          </a:p>
        </p:txBody>
      </p:sp>
      <p:sp>
        <p:nvSpPr>
          <p:cNvPr id="5" name="2 Marcador de contenido"/>
          <p:cNvSpPr>
            <a:spLocks noGrp="1"/>
          </p:cNvSpPr>
          <p:nvPr>
            <p:ph idx="1" hasCustomPrompt="1"/>
          </p:nvPr>
        </p:nvSpPr>
        <p:spPr>
          <a:xfrm>
            <a:off x="609600" y="1463041"/>
            <a:ext cx="10574967" cy="4126201"/>
          </a:xfrm>
          <a:prstGeom prst="rect">
            <a:avLst/>
          </a:prstGeom>
        </p:spPr>
        <p:txBody>
          <a:bodyPr lIns="121784" tIns="60891" rIns="121784" bIns="60891">
            <a:normAutofit/>
          </a:bodyPr>
          <a:lstStyle>
            <a:lvl1pPr>
              <a:buFont typeface="Courier New" pitchFamily="49" charset="0"/>
              <a:buChar char="o"/>
              <a:defRPr sz="2027" b="1" baseline="0">
                <a:solidFill>
                  <a:schemeClr val="tx1">
                    <a:lumMod val="65000"/>
                    <a:lumOff val="35000"/>
                  </a:schemeClr>
                </a:solidFill>
                <a:latin typeface="Trebuchet MS" pitchFamily="34" charset="0"/>
              </a:defRPr>
            </a:lvl1pPr>
            <a:lvl2pPr>
              <a:buFont typeface="Arial" pitchFamily="34" charset="0"/>
              <a:buChar char="•"/>
              <a:defRPr sz="1652" baseline="0">
                <a:solidFill>
                  <a:schemeClr val="tx1">
                    <a:lumMod val="50000"/>
                    <a:lumOff val="50000"/>
                  </a:schemeClr>
                </a:solidFill>
                <a:latin typeface="Trebuchet MS" pitchFamily="34" charset="0"/>
              </a:defRPr>
            </a:lvl2pPr>
          </a:lstStyle>
          <a:p>
            <a:pPr lvl="0"/>
            <a:r>
              <a:rPr lang="es-ES"/>
              <a:t>Nombre libro</a:t>
            </a:r>
          </a:p>
          <a:p>
            <a:pPr lvl="1"/>
            <a:r>
              <a:rPr lang="es-ES"/>
              <a:t>Autor / Edición  / página / </a:t>
            </a:r>
          </a:p>
          <a:p>
            <a:pPr lvl="0"/>
            <a:r>
              <a:rPr lang="es-ES"/>
              <a:t>Nombre sitio web</a:t>
            </a:r>
          </a:p>
          <a:p>
            <a:pPr lvl="1"/>
            <a:r>
              <a:rPr lang="es-ES"/>
              <a:t>Enlace / fecha</a:t>
            </a:r>
          </a:p>
          <a:p>
            <a:pPr lvl="0"/>
            <a:r>
              <a:rPr lang="es-ES"/>
              <a:t>Colaboradores</a:t>
            </a:r>
          </a:p>
          <a:p>
            <a:pPr lvl="1"/>
            <a:r>
              <a:rPr lang="es-CO"/>
              <a:t>Nombre colaborador</a:t>
            </a:r>
          </a:p>
        </p:txBody>
      </p:sp>
      <p:sp>
        <p:nvSpPr>
          <p:cNvPr id="6" name="1 Título"/>
          <p:cNvSpPr txBox="1">
            <a:spLocks/>
          </p:cNvSpPr>
          <p:nvPr userDrawn="1"/>
        </p:nvSpPr>
        <p:spPr>
          <a:xfrm>
            <a:off x="623392" y="1340768"/>
            <a:ext cx="10094912" cy="504056"/>
          </a:xfrm>
          <a:prstGeom prst="rect">
            <a:avLst/>
          </a:prstGeom>
        </p:spPr>
        <p:txBody>
          <a:bodyPr lIns="91433" tIns="45716" rIns="91433" bIns="45716">
            <a:normAutofit/>
          </a:bodyPr>
          <a:lstStyle>
            <a:lvl1pPr algn="l">
              <a:defRPr sz="2800" b="1">
                <a:solidFill>
                  <a:srgbClr val="007934"/>
                </a:solidFill>
                <a:latin typeface="Trebuchet MS" pitchFamily="34" charset="0"/>
              </a:defRPr>
            </a:lvl1pPr>
          </a:lstStyle>
          <a:p>
            <a:pPr>
              <a:spcBef>
                <a:spcPct val="0"/>
              </a:spcBef>
              <a:defRPr/>
            </a:pPr>
            <a:endParaRPr lang="es-CO" sz="2403">
              <a:solidFill>
                <a:srgbClr val="5DBF0C"/>
              </a:solidFill>
            </a:endParaRPr>
          </a:p>
        </p:txBody>
      </p:sp>
      <p:sp>
        <p:nvSpPr>
          <p:cNvPr id="7" name="6 Marcador de número de diapositiva"/>
          <p:cNvSpPr>
            <a:spLocks noGrp="1"/>
          </p:cNvSpPr>
          <p:nvPr>
            <p:ph type="sldNum" sz="quarter" idx="12"/>
          </p:nvPr>
        </p:nvSpPr>
        <p:spPr>
          <a:xfrm>
            <a:off x="11382452" y="6334405"/>
            <a:ext cx="809550" cy="365125"/>
          </a:xfrm>
          <a:prstGeom prst="rect">
            <a:avLst/>
          </a:prstGeom>
        </p:spPr>
        <p:txBody>
          <a:bodyPr lIns="121784" tIns="60891" rIns="121784" bIns="60891"/>
          <a:lstStyle>
            <a:lvl1pPr>
              <a:defRPr>
                <a:solidFill>
                  <a:schemeClr val="tx1">
                    <a:lumMod val="50000"/>
                    <a:lumOff val="50000"/>
                  </a:schemeClr>
                </a:solidFill>
                <a:latin typeface="Trebuchet MS" pitchFamily="34" charset="0"/>
              </a:defRPr>
            </a:lvl1pPr>
          </a:lstStyle>
          <a:p>
            <a:fld id="{6A390CAE-5A1D-442A-B9F1-736C12844423}" type="slidenum">
              <a:rPr lang="es-CO" smtClean="0">
                <a:solidFill>
                  <a:srgbClr val="2F2F2F">
                    <a:lumMod val="50000"/>
                    <a:lumOff val="50000"/>
                  </a:srgbClr>
                </a:solidFill>
              </a:rPr>
              <a:pPr/>
              <a:t>‹Nº›</a:t>
            </a:fld>
            <a:endParaRPr lang="es-CO">
              <a:solidFill>
                <a:srgbClr val="2F2F2F">
                  <a:lumMod val="50000"/>
                  <a:lumOff val="50000"/>
                </a:srgbClr>
              </a:solidFill>
            </a:endParaRPr>
          </a:p>
        </p:txBody>
      </p:sp>
    </p:spTree>
    <p:extLst>
      <p:ext uri="{BB962C8B-B14F-4D97-AF65-F5344CB8AC3E}">
        <p14:creationId xmlns:p14="http://schemas.microsoft.com/office/powerpoint/2010/main" val="26674425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Diapositiva agradecimiento">
    <p:spTree>
      <p:nvGrpSpPr>
        <p:cNvPr id="1" name=""/>
        <p:cNvGrpSpPr/>
        <p:nvPr/>
      </p:nvGrpSpPr>
      <p:grpSpPr>
        <a:xfrm>
          <a:off x="0" y="0"/>
          <a:ext cx="0" cy="0"/>
          <a:chOff x="0" y="0"/>
          <a:chExt cx="0" cy="0"/>
        </a:xfrm>
      </p:grpSpPr>
      <p:pic>
        <p:nvPicPr>
          <p:cNvPr id="3" name="2 Imagen" descr="08_Agradecimiento.jpg"/>
          <p:cNvPicPr>
            <a:picLocks noChangeAspect="1"/>
          </p:cNvPicPr>
          <p:nvPr userDrawn="1"/>
        </p:nvPicPr>
        <p:blipFill>
          <a:blip r:embed="rId2" cstate="print"/>
          <a:stretch>
            <a:fillRect/>
          </a:stretch>
        </p:blipFill>
        <p:spPr>
          <a:xfrm>
            <a:off x="0" y="0"/>
            <a:ext cx="12192000" cy="6858000"/>
          </a:xfrm>
          <a:prstGeom prst="rect">
            <a:avLst/>
          </a:prstGeom>
        </p:spPr>
      </p:pic>
    </p:spTree>
    <p:extLst>
      <p:ext uri="{BB962C8B-B14F-4D97-AF65-F5344CB8AC3E}">
        <p14:creationId xmlns:p14="http://schemas.microsoft.com/office/powerpoint/2010/main" val="19095083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21" y="1589"/>
          <a:ext cx="2115" cy="1587"/>
        </p:xfrm>
        <a:graphic>
          <a:graphicData uri="http://schemas.openxmlformats.org/presentationml/2006/ole">
            <mc:AlternateContent xmlns:mc="http://schemas.openxmlformats.org/markup-compatibility/2006">
              <mc:Choice xmlns:v="urn:schemas-microsoft-com:vml" Requires="v">
                <p:oleObj spid="_x0000_s3923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1" y="1589"/>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1 Imagen"/>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14 Imagen" descr="CapaSeparadorTemaPlantilla.png"/>
          <p:cNvPicPr>
            <a:picLocks noChangeAspect="1"/>
          </p:cNvPicPr>
          <p:nvPr userDrawn="1"/>
        </p:nvPicPr>
        <p:blipFill>
          <a:blip r:embed="rId7" cstate="print"/>
          <a:stretch>
            <a:fillRect/>
          </a:stretch>
        </p:blipFill>
        <p:spPr>
          <a:xfrm>
            <a:off x="4" y="0"/>
            <a:ext cx="12191999" cy="6858000"/>
          </a:xfrm>
          <a:prstGeom prst="rect">
            <a:avLst/>
          </a:prstGeom>
        </p:spPr>
      </p:pic>
      <p:sp>
        <p:nvSpPr>
          <p:cNvPr id="10" name="Text Placeholder 9"/>
          <p:cNvSpPr>
            <a:spLocks noGrp="1"/>
          </p:cNvSpPr>
          <p:nvPr>
            <p:ph type="body" sz="quarter" idx="10"/>
          </p:nvPr>
        </p:nvSpPr>
        <p:spPr>
          <a:xfrm>
            <a:off x="3439585" y="5970588"/>
            <a:ext cx="8236602" cy="519112"/>
          </a:xfrm>
          <a:prstGeom prst="rect">
            <a:avLst/>
          </a:prstGeom>
        </p:spPr>
        <p:txBody>
          <a:bodyPr lIns="116252" tIns="58126" rIns="116252" bIns="58126"/>
          <a:lstStyle>
            <a:lvl1pPr marL="0" indent="0">
              <a:spcBef>
                <a:spcPts val="733"/>
              </a:spcBef>
              <a:buFontTx/>
              <a:buNone/>
              <a:defRPr sz="3078" b="1">
                <a:solidFill>
                  <a:srgbClr val="007635"/>
                </a:solidFill>
                <a:latin typeface="+mn-lt"/>
              </a:defRPr>
            </a:lvl1pPr>
            <a:lvl2pPr marL="175251" indent="0">
              <a:buFontTx/>
              <a:buNone/>
              <a:defRPr/>
            </a:lvl2pPr>
            <a:lvl3pPr marL="340944" indent="0">
              <a:buFontTx/>
              <a:buNone/>
              <a:defRPr/>
            </a:lvl3pPr>
            <a:lvl4pPr marL="513690" indent="0">
              <a:buFontTx/>
              <a:buNone/>
              <a:defRPr/>
            </a:lvl4pPr>
            <a:lvl5pPr marL="687258" indent="0">
              <a:buFontTx/>
              <a:buNone/>
              <a:defRPr/>
            </a:lvl5pPr>
          </a:lstStyle>
          <a:p>
            <a:pPr lvl="0"/>
            <a:r>
              <a:rPr lang="es-ES_tradnl"/>
              <a:t>Click to edit Master text styles</a:t>
            </a:r>
          </a:p>
        </p:txBody>
      </p:sp>
    </p:spTree>
    <p:extLst>
      <p:ext uri="{BB962C8B-B14F-4D97-AF65-F5344CB8AC3E}">
        <p14:creationId xmlns:p14="http://schemas.microsoft.com/office/powerpoint/2010/main" val="18056126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EA845117-B2D9-44CE-94B1-469A03C3F05A}" type="datetimeFigureOut">
              <a:rPr lang="es-CO" smtClean="0"/>
              <a:t>18/07/2024</a:t>
            </a:fld>
            <a:endParaRPr lang="es-CO"/>
          </a:p>
        </p:txBody>
      </p:sp>
      <p:sp>
        <p:nvSpPr>
          <p:cNvPr id="3" name="Marcador de pie de página 2"/>
          <p:cNvSpPr>
            <a:spLocks noGrp="1"/>
          </p:cNvSpPr>
          <p:nvPr>
            <p:ph type="ftr" sz="quarter" idx="11"/>
          </p:nvPr>
        </p:nvSpPr>
        <p:spPr/>
        <p:txBody>
          <a:bodyPr/>
          <a:lstStyle/>
          <a:p>
            <a:endParaRPr lang="es-CO"/>
          </a:p>
        </p:txBody>
      </p:sp>
      <p:sp>
        <p:nvSpPr>
          <p:cNvPr id="4" name="Marcador de número de diapositiva 3"/>
          <p:cNvSpPr>
            <a:spLocks noGrp="1"/>
          </p:cNvSpPr>
          <p:nvPr>
            <p:ph type="sldNum" sz="quarter" idx="12"/>
          </p:nvPr>
        </p:nvSpPr>
        <p:spPr/>
        <p:txBody>
          <a:bodyPr/>
          <a:lstStyle/>
          <a:p>
            <a:fld id="{D472E822-51DD-481B-9A18-1CA8E598B19F}" type="slidenum">
              <a:rPr lang="es-CO" smtClean="0"/>
              <a:t>‹Nº›</a:t>
            </a:fld>
            <a:endParaRPr lang="es-CO"/>
          </a:p>
        </p:txBody>
      </p:sp>
    </p:spTree>
    <p:extLst>
      <p:ext uri="{BB962C8B-B14F-4D97-AF65-F5344CB8AC3E}">
        <p14:creationId xmlns:p14="http://schemas.microsoft.com/office/powerpoint/2010/main" val="21109905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3_Text Slide (Full Page)">
    <p:spTree>
      <p:nvGrpSpPr>
        <p:cNvPr id="1" name=""/>
        <p:cNvGrpSpPr/>
        <p:nvPr/>
      </p:nvGrpSpPr>
      <p:grpSpPr>
        <a:xfrm>
          <a:off x="0" y="0"/>
          <a:ext cx="0" cy="0"/>
          <a:chOff x="0" y="0"/>
          <a:chExt cx="0" cy="0"/>
        </a:xfrm>
      </p:grpSpPr>
      <p:sp>
        <p:nvSpPr>
          <p:cNvPr id="2" name="Title 1"/>
          <p:cNvSpPr>
            <a:spLocks noGrp="1"/>
          </p:cNvSpPr>
          <p:nvPr>
            <p:ph type="title"/>
          </p:nvPr>
        </p:nvSpPr>
        <p:spPr>
          <a:xfrm>
            <a:off x="759917" y="266748"/>
            <a:ext cx="10335681" cy="865857"/>
          </a:xfrm>
          <a:prstGeom prst="rect">
            <a:avLst/>
          </a:prstGeom>
        </p:spPr>
        <p:txBody>
          <a:bodyPr/>
          <a:lstStyle/>
          <a:p>
            <a:r>
              <a:rPr lang="es-ES"/>
              <a:t>Haga clic para modificar el estilo de título del patrón</a:t>
            </a:r>
            <a:endParaRPr lang="es-MX" dirty="0"/>
          </a:p>
        </p:txBody>
      </p:sp>
      <p:sp>
        <p:nvSpPr>
          <p:cNvPr id="3" name="Content Placeholder 2"/>
          <p:cNvSpPr>
            <a:spLocks noGrp="1"/>
          </p:cNvSpPr>
          <p:nvPr>
            <p:ph idx="1"/>
          </p:nvPr>
        </p:nvSpPr>
        <p:spPr>
          <a:xfrm>
            <a:off x="759917" y="1559538"/>
            <a:ext cx="10363201" cy="4611600"/>
          </a:xfrm>
          <a:prstGeom prst="rect">
            <a:avLst/>
          </a:prstGeom>
        </p:spPr>
        <p:txBody>
          <a:bodyPr/>
          <a:lstStyle>
            <a:lvl1pPr>
              <a:buClr>
                <a:schemeClr val="accent3"/>
              </a:buClr>
              <a:defRPr sz="1600">
                <a:solidFill>
                  <a:srgbClr val="787878"/>
                </a:solidFill>
              </a:defRPr>
            </a:lvl1pPr>
            <a:lvl2pPr marL="457200" indent="-273050">
              <a:defRPr sz="1600">
                <a:solidFill>
                  <a:srgbClr val="787878"/>
                </a:solidFill>
              </a:defRPr>
            </a:lvl2pPr>
            <a:lvl3pPr>
              <a:buClr>
                <a:schemeClr val="accent3"/>
              </a:buClr>
              <a:defRPr sz="1600">
                <a:solidFill>
                  <a:srgbClr val="787878"/>
                </a:solidFill>
              </a:defRPr>
            </a:lvl3pPr>
            <a:lvl4pPr>
              <a:defRPr sz="1600">
                <a:solidFill>
                  <a:srgbClr val="787878"/>
                </a:solidFill>
              </a:defRPr>
            </a:lvl4pPr>
            <a:lvl5pPr>
              <a:buClr>
                <a:schemeClr val="accent3"/>
              </a:buClr>
              <a:defRPr sz="1600">
                <a:solidFill>
                  <a:srgbClr val="787878"/>
                </a:solidFill>
              </a:defRPr>
            </a:lvl5pPr>
          </a:lstStyle>
          <a:p>
            <a:pPr lvl="0"/>
            <a:r>
              <a:rPr lang="es-MX"/>
              <a:t>Click to edit Master text styles</a:t>
            </a:r>
          </a:p>
          <a:p>
            <a:pPr lvl="1"/>
            <a:r>
              <a:rPr lang="es-MX"/>
              <a:t>Second level</a:t>
            </a:r>
          </a:p>
          <a:p>
            <a:pPr lvl="2"/>
            <a:r>
              <a:rPr lang="es-MX"/>
              <a:t>Third level</a:t>
            </a:r>
          </a:p>
          <a:p>
            <a:pPr lvl="3"/>
            <a:r>
              <a:rPr lang="es-MX"/>
              <a:t>Fourth level</a:t>
            </a:r>
          </a:p>
          <a:p>
            <a:pPr lvl="4"/>
            <a:r>
              <a:rPr lang="es-MX"/>
              <a:t>Fifth level</a:t>
            </a:r>
            <a:endParaRPr lang="es-MX" dirty="0"/>
          </a:p>
        </p:txBody>
      </p:sp>
      <p:sp>
        <p:nvSpPr>
          <p:cNvPr id="7" name="Text Placeholder 6"/>
          <p:cNvSpPr>
            <a:spLocks noGrp="1"/>
          </p:cNvSpPr>
          <p:nvPr>
            <p:ph type="body" sz="quarter" idx="10"/>
          </p:nvPr>
        </p:nvSpPr>
        <p:spPr>
          <a:xfrm>
            <a:off x="743570" y="1132427"/>
            <a:ext cx="10354733" cy="485775"/>
          </a:xfrm>
          <a:prstGeom prst="rect">
            <a:avLst/>
          </a:prstGeom>
        </p:spPr>
        <p:txBody>
          <a:bodyPr/>
          <a:lstStyle>
            <a:lvl1pPr marL="0" indent="0">
              <a:buFontTx/>
              <a:buNone/>
              <a:defRPr sz="2200" b="1">
                <a:solidFill>
                  <a:srgbClr val="5DBF0C"/>
                </a:solidFill>
              </a:defRPr>
            </a:lvl1pPr>
            <a:lvl2pPr marL="183600" indent="0">
              <a:buFontTx/>
              <a:buNone/>
              <a:defRPr sz="2200"/>
            </a:lvl2pPr>
            <a:lvl3pPr marL="357188" indent="0">
              <a:buFontTx/>
              <a:buNone/>
              <a:defRPr sz="2200"/>
            </a:lvl3pPr>
            <a:lvl4pPr marL="538163" indent="0">
              <a:buFontTx/>
              <a:buNone/>
              <a:defRPr sz="2200"/>
            </a:lvl4pPr>
            <a:lvl5pPr marL="720000" indent="0">
              <a:buFontTx/>
              <a:buNone/>
              <a:defRPr sz="2200"/>
            </a:lvl5pPr>
          </a:lstStyle>
          <a:p>
            <a:pPr lvl="0"/>
            <a:r>
              <a:rPr lang="es-MX"/>
              <a:t>Click to edit Master text styles</a:t>
            </a:r>
            <a:endParaRPr lang="es-MX" dirty="0"/>
          </a:p>
        </p:txBody>
      </p:sp>
    </p:spTree>
    <p:extLst>
      <p:ext uri="{BB962C8B-B14F-4D97-AF65-F5344CB8AC3E}">
        <p14:creationId xmlns:p14="http://schemas.microsoft.com/office/powerpoint/2010/main" val="1969952064"/>
      </p:ext>
    </p:extLst>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Objetos y texto">
    <p:spTree>
      <p:nvGrpSpPr>
        <p:cNvPr id="1" name=""/>
        <p:cNvGrpSpPr/>
        <p:nvPr/>
      </p:nvGrpSpPr>
      <p:grpSpPr>
        <a:xfrm>
          <a:off x="0" y="0"/>
          <a:ext cx="0" cy="0"/>
          <a:chOff x="0" y="0"/>
          <a:chExt cx="0" cy="0"/>
        </a:xfrm>
      </p:grpSpPr>
      <p:sp>
        <p:nvSpPr>
          <p:cNvPr id="2" name="1 Título"/>
          <p:cNvSpPr>
            <a:spLocks noGrp="1"/>
          </p:cNvSpPr>
          <p:nvPr>
            <p:ph type="title"/>
          </p:nvPr>
        </p:nvSpPr>
        <p:spPr>
          <a:xfrm>
            <a:off x="609603" y="398933"/>
            <a:ext cx="8421948" cy="373433"/>
          </a:xfrm>
          <a:prstGeom prst="rect">
            <a:avLst/>
          </a:prstGeom>
        </p:spPr>
        <p:txBody>
          <a:bodyPr lIns="121784" tIns="60891" rIns="121784" bIns="60891"/>
          <a:lstStyle>
            <a:lvl1pPr algn="l">
              <a:defRPr sz="1652" b="1" i="1">
                <a:solidFill>
                  <a:schemeClr val="accent3"/>
                </a:solidFill>
              </a:defRPr>
            </a:lvl1pPr>
          </a:lstStyle>
          <a:p>
            <a:r>
              <a:rPr lang="es-ES"/>
              <a:t>Haga clic para modificar el estilo de título del patrón</a:t>
            </a:r>
            <a:endParaRPr lang="es-CO"/>
          </a:p>
        </p:txBody>
      </p:sp>
      <p:sp>
        <p:nvSpPr>
          <p:cNvPr id="7" name="6 Marcador de contenido"/>
          <p:cNvSpPr>
            <a:spLocks noGrp="1"/>
          </p:cNvSpPr>
          <p:nvPr>
            <p:ph sz="quarter" idx="12"/>
          </p:nvPr>
        </p:nvSpPr>
        <p:spPr>
          <a:xfrm>
            <a:off x="645329" y="835025"/>
            <a:ext cx="10901347" cy="3594932"/>
          </a:xfrm>
          <a:prstGeom prst="rect">
            <a:avLst/>
          </a:prstGeom>
        </p:spPr>
        <p:txBody>
          <a:bodyPr lIns="121784" tIns="60891" rIns="121784" bIns="60891" anchor="t"/>
          <a:lstStyle>
            <a:lvl1pPr algn="l">
              <a:buNone/>
              <a:defRPr sz="1802"/>
            </a:lvl1pPr>
          </a:lstStyle>
          <a:p>
            <a:pPr lvl="0"/>
            <a:r>
              <a:rPr lang="es-ES"/>
              <a:t>Haga clic para modificar el estilo de texto del patrón</a:t>
            </a:r>
          </a:p>
        </p:txBody>
      </p:sp>
      <p:sp>
        <p:nvSpPr>
          <p:cNvPr id="6" name="5 Marcador de texto"/>
          <p:cNvSpPr>
            <a:spLocks noGrp="1"/>
          </p:cNvSpPr>
          <p:nvPr>
            <p:ph type="body" sz="quarter" idx="10"/>
          </p:nvPr>
        </p:nvSpPr>
        <p:spPr>
          <a:xfrm>
            <a:off x="639193" y="4483225"/>
            <a:ext cx="10913616" cy="1438183"/>
          </a:xfrm>
          <a:prstGeom prst="rect">
            <a:avLst/>
          </a:prstGeom>
        </p:spPr>
        <p:txBody>
          <a:bodyPr lIns="121784" tIns="60891" rIns="121784" bIns="60891" anchor="ctr"/>
          <a:lstStyle>
            <a:lvl1pPr algn="l">
              <a:buFontTx/>
              <a:buBlip>
                <a:blip r:embed="rId2"/>
              </a:buBlip>
              <a:defRPr sz="1802">
                <a:solidFill>
                  <a:schemeClr val="tx1"/>
                </a:solidFill>
              </a:defRPr>
            </a:lvl1pPr>
          </a:lstStyle>
          <a:p>
            <a:pPr lvl="0"/>
            <a:r>
              <a:rPr lang="es-ES"/>
              <a:t>Haga clic para modificar el estilo de texto del patrón</a:t>
            </a:r>
          </a:p>
        </p:txBody>
      </p:sp>
    </p:spTree>
    <p:extLst>
      <p:ext uri="{BB962C8B-B14F-4D97-AF65-F5344CB8AC3E}">
        <p14:creationId xmlns:p14="http://schemas.microsoft.com/office/powerpoint/2010/main" val="13817755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p:cNvSpPr>
            <a:spLocks noGrp="1"/>
          </p:cNvSpPr>
          <p:nvPr>
            <p:ph type="dt" sz="half" idx="10"/>
          </p:nvPr>
        </p:nvSpPr>
        <p:spPr/>
        <p:txBody>
          <a:bodyPr/>
          <a:lstStyle/>
          <a:p>
            <a:fld id="{EA845117-B2D9-44CE-94B1-469A03C3F05A}" type="datetimeFigureOut">
              <a:rPr lang="es-CO" smtClean="0"/>
              <a:t>18/07/2024</a:t>
            </a:fld>
            <a:endParaRPr lang="es-CO"/>
          </a:p>
        </p:txBody>
      </p:sp>
      <p:sp>
        <p:nvSpPr>
          <p:cNvPr id="5" name="Marcador de pie de página 4"/>
          <p:cNvSpPr>
            <a:spLocks noGrp="1"/>
          </p:cNvSpPr>
          <p:nvPr>
            <p:ph type="ftr" sz="quarter" idx="11"/>
          </p:nvPr>
        </p:nvSpPr>
        <p:spPr/>
        <p:txBody>
          <a:bodyPr/>
          <a:lstStyle/>
          <a:p>
            <a:endParaRPr lang="es-CO"/>
          </a:p>
        </p:txBody>
      </p:sp>
      <p:sp>
        <p:nvSpPr>
          <p:cNvPr id="6" name="Marcador de número de diapositiva 5"/>
          <p:cNvSpPr>
            <a:spLocks noGrp="1"/>
          </p:cNvSpPr>
          <p:nvPr>
            <p:ph type="sldNum" sz="quarter" idx="12"/>
          </p:nvPr>
        </p:nvSpPr>
        <p:spPr/>
        <p:txBody>
          <a:bodyPr/>
          <a:lstStyle/>
          <a:p>
            <a:fld id="{D472E822-51DD-481B-9A18-1CA8E598B19F}" type="slidenum">
              <a:rPr lang="es-CO" smtClean="0"/>
              <a:t>‹Nº›</a:t>
            </a:fld>
            <a:endParaRPr lang="es-CO"/>
          </a:p>
        </p:txBody>
      </p:sp>
    </p:spTree>
    <p:extLst>
      <p:ext uri="{BB962C8B-B14F-4D97-AF65-F5344CB8AC3E}">
        <p14:creationId xmlns:p14="http://schemas.microsoft.com/office/powerpoint/2010/main" val="33323122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23463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59902" y="266701"/>
            <a:ext cx="10335681" cy="716400"/>
          </a:xfrm>
        </p:spPr>
        <p:txBody>
          <a:bodyPr/>
          <a:lstStyle>
            <a:lvl1pPr>
              <a:defRPr sz="2400"/>
            </a:lvl1pPr>
          </a:lstStyle>
          <a:p>
            <a:r>
              <a:rPr lang="es-ES_tradnl" err="1"/>
              <a:t>Click</a:t>
            </a:r>
            <a:r>
              <a:rPr lang="es-ES_tradnl"/>
              <a:t> </a:t>
            </a:r>
            <a:r>
              <a:rPr lang="es-ES_tradnl" err="1"/>
              <a:t>to</a:t>
            </a:r>
            <a:r>
              <a:rPr lang="es-ES_tradnl"/>
              <a:t> </a:t>
            </a:r>
            <a:r>
              <a:rPr lang="es-ES_tradnl" err="1"/>
              <a:t>edit</a:t>
            </a:r>
            <a:r>
              <a:rPr lang="es-ES_tradnl"/>
              <a:t> Master </a:t>
            </a:r>
            <a:r>
              <a:rPr lang="es-ES_tradnl" err="1"/>
              <a:t>title</a:t>
            </a:r>
            <a:r>
              <a:rPr lang="es-ES_tradnl"/>
              <a:t> </a:t>
            </a:r>
            <a:r>
              <a:rPr lang="es-ES_tradnl" err="1"/>
              <a:t>style</a:t>
            </a:r>
            <a:endParaRPr lang="es-ES_tradnl"/>
          </a:p>
        </p:txBody>
      </p:sp>
    </p:spTree>
    <p:extLst>
      <p:ext uri="{BB962C8B-B14F-4D97-AF65-F5344CB8AC3E}">
        <p14:creationId xmlns:p14="http://schemas.microsoft.com/office/powerpoint/2010/main" val="31804748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Slide (Full Page)">
    <p:spTree>
      <p:nvGrpSpPr>
        <p:cNvPr id="1" name=""/>
        <p:cNvGrpSpPr/>
        <p:nvPr/>
      </p:nvGrpSpPr>
      <p:grpSpPr>
        <a:xfrm>
          <a:off x="0" y="0"/>
          <a:ext cx="0" cy="0"/>
          <a:chOff x="0" y="0"/>
          <a:chExt cx="0" cy="0"/>
        </a:xfrm>
      </p:grpSpPr>
      <p:sp>
        <p:nvSpPr>
          <p:cNvPr id="2" name="Title 1"/>
          <p:cNvSpPr>
            <a:spLocks noGrp="1"/>
          </p:cNvSpPr>
          <p:nvPr>
            <p:ph type="title"/>
          </p:nvPr>
        </p:nvSpPr>
        <p:spPr>
          <a:xfrm>
            <a:off x="759902" y="266701"/>
            <a:ext cx="10335681" cy="716400"/>
          </a:xfrm>
        </p:spPr>
        <p:txBody>
          <a:bodyPr/>
          <a:lstStyle/>
          <a:p>
            <a:r>
              <a:rPr lang="es-ES_tradnl" err="1"/>
              <a:t>Click</a:t>
            </a:r>
            <a:r>
              <a:rPr lang="es-ES_tradnl"/>
              <a:t> </a:t>
            </a:r>
            <a:r>
              <a:rPr lang="es-ES_tradnl" err="1"/>
              <a:t>to</a:t>
            </a:r>
            <a:r>
              <a:rPr lang="es-ES_tradnl"/>
              <a:t> </a:t>
            </a:r>
            <a:r>
              <a:rPr lang="es-ES_tradnl" err="1"/>
              <a:t>edit</a:t>
            </a:r>
            <a:r>
              <a:rPr lang="es-ES_tradnl"/>
              <a:t> Master </a:t>
            </a:r>
            <a:r>
              <a:rPr lang="es-ES_tradnl" err="1"/>
              <a:t>title</a:t>
            </a:r>
            <a:r>
              <a:rPr lang="es-ES_tradnl"/>
              <a:t> </a:t>
            </a:r>
            <a:r>
              <a:rPr lang="es-ES_tradnl" err="1"/>
              <a:t>style</a:t>
            </a:r>
            <a:endParaRPr lang="es-ES_tradnl"/>
          </a:p>
        </p:txBody>
      </p:sp>
      <p:sp>
        <p:nvSpPr>
          <p:cNvPr id="3" name="Content Placeholder 2"/>
          <p:cNvSpPr>
            <a:spLocks noGrp="1"/>
          </p:cNvSpPr>
          <p:nvPr>
            <p:ph idx="1"/>
          </p:nvPr>
        </p:nvSpPr>
        <p:spPr>
          <a:xfrm>
            <a:off x="759912" y="1559538"/>
            <a:ext cx="10363201" cy="4611600"/>
          </a:xfrm>
          <a:prstGeom prst="rect">
            <a:avLst/>
          </a:prstGeom>
        </p:spPr>
        <p:txBody>
          <a:bodyPr lIns="91414" tIns="45706" rIns="91414" bIns="45706"/>
          <a:lstStyle>
            <a:lvl1pPr marL="183548" indent="-183548">
              <a:buClrTx/>
              <a:buFont typeface="Wingdings" pitchFamily="2" charset="2"/>
              <a:buChar char="§"/>
              <a:defRPr sz="1600">
                <a:solidFill>
                  <a:srgbClr val="787878"/>
                </a:solidFill>
                <a:latin typeface="+mn-lt"/>
              </a:defRPr>
            </a:lvl1pPr>
            <a:lvl2pPr marL="457070" indent="-272972">
              <a:buClrTx/>
              <a:defRPr sz="1600">
                <a:solidFill>
                  <a:srgbClr val="787878"/>
                </a:solidFill>
                <a:latin typeface="+mn-lt"/>
              </a:defRPr>
            </a:lvl2pPr>
            <a:lvl3pPr>
              <a:buClrTx/>
              <a:defRPr sz="1600">
                <a:solidFill>
                  <a:srgbClr val="787878"/>
                </a:solidFill>
                <a:latin typeface="+mn-lt"/>
              </a:defRPr>
            </a:lvl3pPr>
            <a:lvl4pPr>
              <a:buClrTx/>
              <a:defRPr sz="1600">
                <a:solidFill>
                  <a:srgbClr val="787878"/>
                </a:solidFill>
                <a:latin typeface="+mn-lt"/>
              </a:defRPr>
            </a:lvl4pPr>
            <a:lvl5pPr>
              <a:buClrTx/>
              <a:defRPr sz="1600">
                <a:solidFill>
                  <a:srgbClr val="787878"/>
                </a:solidFill>
                <a:latin typeface="+mn-lt"/>
              </a:defRPr>
            </a:lvl5pPr>
          </a:lstStyle>
          <a:p>
            <a:pPr lvl="0"/>
            <a:r>
              <a:rPr lang="es-ES_tradnl" err="1"/>
              <a:t>Click</a:t>
            </a:r>
            <a:r>
              <a:rPr lang="es-ES_tradnl"/>
              <a:t> </a:t>
            </a:r>
            <a:r>
              <a:rPr lang="es-ES_tradnl" err="1"/>
              <a:t>to</a:t>
            </a:r>
            <a:r>
              <a:rPr lang="es-ES_tradnl"/>
              <a:t> </a:t>
            </a:r>
            <a:r>
              <a:rPr lang="es-ES_tradnl" err="1"/>
              <a:t>edit</a:t>
            </a:r>
            <a:r>
              <a:rPr lang="es-ES_tradnl"/>
              <a:t> Master </a:t>
            </a:r>
            <a:r>
              <a:rPr lang="es-ES_tradnl" err="1"/>
              <a:t>text</a:t>
            </a:r>
            <a:r>
              <a:rPr lang="es-ES_tradnl"/>
              <a:t> </a:t>
            </a:r>
            <a:r>
              <a:rPr lang="es-ES_tradnl" err="1"/>
              <a:t>styles</a:t>
            </a:r>
            <a:endParaRPr lang="es-ES_tradnl"/>
          </a:p>
          <a:p>
            <a:pPr lvl="1"/>
            <a:r>
              <a:rPr lang="es-ES_tradnl" err="1"/>
              <a:t>Second</a:t>
            </a:r>
            <a:r>
              <a:rPr lang="es-ES_tradnl"/>
              <a:t> </a:t>
            </a:r>
            <a:r>
              <a:rPr lang="es-ES_tradnl" err="1"/>
              <a:t>level</a:t>
            </a:r>
            <a:endParaRPr lang="es-ES_tradnl"/>
          </a:p>
          <a:p>
            <a:pPr lvl="2"/>
            <a:r>
              <a:rPr lang="es-ES_tradnl" err="1"/>
              <a:t>Third</a:t>
            </a:r>
            <a:r>
              <a:rPr lang="es-ES_tradnl"/>
              <a:t> </a:t>
            </a:r>
            <a:r>
              <a:rPr lang="es-ES_tradnl" err="1"/>
              <a:t>level</a:t>
            </a:r>
            <a:endParaRPr lang="es-ES_tradnl"/>
          </a:p>
          <a:p>
            <a:pPr lvl="3"/>
            <a:r>
              <a:rPr lang="es-ES_tradnl" err="1"/>
              <a:t>Fourth</a:t>
            </a:r>
            <a:r>
              <a:rPr lang="es-ES_tradnl"/>
              <a:t> </a:t>
            </a:r>
            <a:r>
              <a:rPr lang="es-ES_tradnl" err="1"/>
              <a:t>level</a:t>
            </a:r>
            <a:endParaRPr lang="es-ES_tradnl"/>
          </a:p>
          <a:p>
            <a:pPr lvl="4"/>
            <a:r>
              <a:rPr lang="es-ES_tradnl" err="1"/>
              <a:t>Fifth</a:t>
            </a:r>
            <a:r>
              <a:rPr lang="es-ES_tradnl"/>
              <a:t> </a:t>
            </a:r>
            <a:r>
              <a:rPr lang="es-ES_tradnl" err="1"/>
              <a:t>level</a:t>
            </a:r>
            <a:endParaRPr lang="es-ES_tradnl"/>
          </a:p>
        </p:txBody>
      </p:sp>
    </p:spTree>
    <p:extLst>
      <p:ext uri="{BB962C8B-B14F-4D97-AF65-F5344CB8AC3E}">
        <p14:creationId xmlns:p14="http://schemas.microsoft.com/office/powerpoint/2010/main" val="4680858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Text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err="1"/>
              <a:t>Click</a:t>
            </a:r>
            <a:r>
              <a:rPr lang="es-ES_tradnl"/>
              <a:t> </a:t>
            </a:r>
            <a:r>
              <a:rPr lang="es-ES_tradnl" err="1"/>
              <a:t>to</a:t>
            </a:r>
            <a:r>
              <a:rPr lang="es-ES_tradnl"/>
              <a:t> </a:t>
            </a:r>
            <a:r>
              <a:rPr lang="es-ES_tradnl" err="1"/>
              <a:t>edit</a:t>
            </a:r>
            <a:r>
              <a:rPr lang="es-ES_tradnl"/>
              <a:t> Master </a:t>
            </a:r>
            <a:r>
              <a:rPr lang="es-ES_tradnl" err="1"/>
              <a:t>title</a:t>
            </a:r>
            <a:r>
              <a:rPr lang="es-ES_tradnl"/>
              <a:t> </a:t>
            </a:r>
            <a:r>
              <a:rPr lang="es-ES_tradnl" err="1"/>
              <a:t>style</a:t>
            </a:r>
            <a:endParaRPr lang="es-ES_tradnl"/>
          </a:p>
        </p:txBody>
      </p:sp>
      <p:sp>
        <p:nvSpPr>
          <p:cNvPr id="3" name="Content Placeholder 2"/>
          <p:cNvSpPr>
            <a:spLocks noGrp="1"/>
          </p:cNvSpPr>
          <p:nvPr>
            <p:ph sz="half" idx="1"/>
          </p:nvPr>
        </p:nvSpPr>
        <p:spPr>
          <a:xfrm>
            <a:off x="759889" y="1569600"/>
            <a:ext cx="5148333" cy="4611600"/>
          </a:xfrm>
          <a:prstGeom prst="rect">
            <a:avLst/>
          </a:prstGeom>
        </p:spPr>
        <p:txBody>
          <a:bodyPr lIns="91414" tIns="45706" rIns="91414" bIns="45706">
            <a:normAutofit/>
          </a:bodyPr>
          <a:lstStyle>
            <a:lvl1pPr marL="183548" indent="-183548">
              <a:buClrTx/>
              <a:buFont typeface="Wingdings" pitchFamily="2" charset="2"/>
              <a:buChar char="§"/>
              <a:defRPr sz="1600">
                <a:latin typeface="+mn-lt"/>
              </a:defRPr>
            </a:lvl1pPr>
            <a:lvl2pPr>
              <a:buClrTx/>
              <a:defRPr sz="1600">
                <a:latin typeface="+mn-lt"/>
              </a:defRPr>
            </a:lvl2pPr>
            <a:lvl3pPr>
              <a:buClrTx/>
              <a:defRPr sz="1600">
                <a:latin typeface="+mn-lt"/>
              </a:defRPr>
            </a:lvl3pPr>
            <a:lvl4pPr>
              <a:buClrTx/>
              <a:defRPr sz="1600">
                <a:latin typeface="+mn-lt"/>
              </a:defRPr>
            </a:lvl4pPr>
            <a:lvl5pPr>
              <a:buClrTx/>
              <a:defRPr sz="1600">
                <a:latin typeface="+mn-lt"/>
              </a:defRPr>
            </a:lvl5pPr>
            <a:lvl6pPr>
              <a:defRPr sz="1800"/>
            </a:lvl6pPr>
            <a:lvl7pPr>
              <a:defRPr sz="1800"/>
            </a:lvl7pPr>
            <a:lvl8pPr>
              <a:defRPr sz="1800"/>
            </a:lvl8pPr>
            <a:lvl9pPr>
              <a:defRPr sz="1800"/>
            </a:lvl9pPr>
          </a:lstStyle>
          <a:p>
            <a:pPr lvl="0"/>
            <a:r>
              <a:rPr lang="es-ES_tradnl" err="1"/>
              <a:t>Click</a:t>
            </a:r>
            <a:r>
              <a:rPr lang="es-ES_tradnl"/>
              <a:t> </a:t>
            </a:r>
            <a:r>
              <a:rPr lang="es-ES_tradnl" err="1"/>
              <a:t>to</a:t>
            </a:r>
            <a:r>
              <a:rPr lang="es-ES_tradnl"/>
              <a:t> </a:t>
            </a:r>
            <a:r>
              <a:rPr lang="es-ES_tradnl" err="1"/>
              <a:t>edit</a:t>
            </a:r>
            <a:r>
              <a:rPr lang="es-ES_tradnl"/>
              <a:t> Master </a:t>
            </a:r>
            <a:r>
              <a:rPr lang="es-ES_tradnl" err="1"/>
              <a:t>text</a:t>
            </a:r>
            <a:r>
              <a:rPr lang="es-ES_tradnl"/>
              <a:t> </a:t>
            </a:r>
            <a:r>
              <a:rPr lang="es-ES_tradnl" err="1"/>
              <a:t>styles</a:t>
            </a:r>
            <a:endParaRPr lang="es-ES_tradnl"/>
          </a:p>
          <a:p>
            <a:pPr lvl="1"/>
            <a:r>
              <a:rPr lang="es-ES_tradnl" err="1"/>
              <a:t>Second</a:t>
            </a:r>
            <a:r>
              <a:rPr lang="es-ES_tradnl"/>
              <a:t> </a:t>
            </a:r>
            <a:r>
              <a:rPr lang="es-ES_tradnl" err="1"/>
              <a:t>level</a:t>
            </a:r>
            <a:endParaRPr lang="es-ES_tradnl"/>
          </a:p>
          <a:p>
            <a:pPr lvl="2"/>
            <a:r>
              <a:rPr lang="es-ES_tradnl" err="1"/>
              <a:t>Third</a:t>
            </a:r>
            <a:r>
              <a:rPr lang="es-ES_tradnl"/>
              <a:t> </a:t>
            </a:r>
            <a:r>
              <a:rPr lang="es-ES_tradnl" err="1"/>
              <a:t>level</a:t>
            </a:r>
            <a:endParaRPr lang="es-ES_tradnl"/>
          </a:p>
          <a:p>
            <a:pPr lvl="3"/>
            <a:r>
              <a:rPr lang="es-ES_tradnl" err="1"/>
              <a:t>Fourth</a:t>
            </a:r>
            <a:r>
              <a:rPr lang="es-ES_tradnl"/>
              <a:t> </a:t>
            </a:r>
            <a:r>
              <a:rPr lang="es-ES_tradnl" err="1"/>
              <a:t>level</a:t>
            </a:r>
            <a:endParaRPr lang="es-ES_tradnl"/>
          </a:p>
          <a:p>
            <a:pPr lvl="4"/>
            <a:r>
              <a:rPr lang="es-ES_tradnl" err="1"/>
              <a:t>Fifth</a:t>
            </a:r>
            <a:r>
              <a:rPr lang="es-ES_tradnl"/>
              <a:t> </a:t>
            </a:r>
            <a:r>
              <a:rPr lang="es-ES_tradnl" err="1"/>
              <a:t>level</a:t>
            </a:r>
            <a:endParaRPr lang="es-ES_tradnl"/>
          </a:p>
        </p:txBody>
      </p:sp>
      <p:sp>
        <p:nvSpPr>
          <p:cNvPr id="5" name="Content Placeholder 2"/>
          <p:cNvSpPr>
            <a:spLocks noGrp="1"/>
          </p:cNvSpPr>
          <p:nvPr>
            <p:ph sz="half" idx="10"/>
          </p:nvPr>
        </p:nvSpPr>
        <p:spPr>
          <a:xfrm>
            <a:off x="6109526" y="1569600"/>
            <a:ext cx="5148333" cy="4611600"/>
          </a:xfrm>
          <a:prstGeom prst="rect">
            <a:avLst/>
          </a:prstGeom>
        </p:spPr>
        <p:txBody>
          <a:bodyPr lIns="91414" tIns="45706" rIns="91414" bIns="45706">
            <a:normAutofit/>
          </a:bodyPr>
          <a:lstStyle>
            <a:lvl1pPr marL="183548" indent="-183548">
              <a:buClrTx/>
              <a:buFont typeface="Wingdings" pitchFamily="2" charset="2"/>
              <a:buChar char="§"/>
              <a:defRPr sz="1600">
                <a:latin typeface="+mn-lt"/>
              </a:defRPr>
            </a:lvl1pPr>
            <a:lvl2pPr>
              <a:buClrTx/>
              <a:defRPr sz="1600">
                <a:latin typeface="+mn-lt"/>
              </a:defRPr>
            </a:lvl2pPr>
            <a:lvl3pPr>
              <a:buClrTx/>
              <a:defRPr sz="1600">
                <a:latin typeface="+mn-lt"/>
              </a:defRPr>
            </a:lvl3pPr>
            <a:lvl4pPr>
              <a:buClrTx/>
              <a:defRPr sz="1600">
                <a:latin typeface="+mn-lt"/>
              </a:defRPr>
            </a:lvl4pPr>
            <a:lvl5pPr>
              <a:buClrTx/>
              <a:defRPr sz="1600">
                <a:latin typeface="+mn-lt"/>
              </a:defRPr>
            </a:lvl5pPr>
            <a:lvl6pPr>
              <a:defRPr sz="1800"/>
            </a:lvl6pPr>
            <a:lvl7pPr>
              <a:defRPr sz="1800"/>
            </a:lvl7pPr>
            <a:lvl8pPr>
              <a:defRPr sz="1800"/>
            </a:lvl8pPr>
            <a:lvl9pPr>
              <a:defRPr sz="1800"/>
            </a:lvl9pPr>
          </a:lstStyle>
          <a:p>
            <a:pPr lvl="0"/>
            <a:r>
              <a:rPr lang="es-ES_tradnl" err="1"/>
              <a:t>Click</a:t>
            </a:r>
            <a:r>
              <a:rPr lang="es-ES_tradnl"/>
              <a:t> </a:t>
            </a:r>
            <a:r>
              <a:rPr lang="es-ES_tradnl" err="1"/>
              <a:t>to</a:t>
            </a:r>
            <a:r>
              <a:rPr lang="es-ES_tradnl"/>
              <a:t> </a:t>
            </a:r>
            <a:r>
              <a:rPr lang="es-ES_tradnl" err="1"/>
              <a:t>edit</a:t>
            </a:r>
            <a:r>
              <a:rPr lang="es-ES_tradnl"/>
              <a:t> Master </a:t>
            </a:r>
            <a:r>
              <a:rPr lang="es-ES_tradnl" err="1"/>
              <a:t>text</a:t>
            </a:r>
            <a:r>
              <a:rPr lang="es-ES_tradnl"/>
              <a:t> </a:t>
            </a:r>
            <a:r>
              <a:rPr lang="es-ES_tradnl" err="1"/>
              <a:t>styles</a:t>
            </a:r>
            <a:endParaRPr lang="es-ES_tradnl"/>
          </a:p>
          <a:p>
            <a:pPr lvl="1"/>
            <a:r>
              <a:rPr lang="es-ES_tradnl" err="1"/>
              <a:t>Second</a:t>
            </a:r>
            <a:r>
              <a:rPr lang="es-ES_tradnl"/>
              <a:t> </a:t>
            </a:r>
            <a:r>
              <a:rPr lang="es-ES_tradnl" err="1"/>
              <a:t>level</a:t>
            </a:r>
            <a:endParaRPr lang="es-ES_tradnl"/>
          </a:p>
          <a:p>
            <a:pPr lvl="2"/>
            <a:r>
              <a:rPr lang="es-ES_tradnl" err="1"/>
              <a:t>Third</a:t>
            </a:r>
            <a:r>
              <a:rPr lang="es-ES_tradnl"/>
              <a:t> </a:t>
            </a:r>
            <a:r>
              <a:rPr lang="es-ES_tradnl" err="1"/>
              <a:t>level</a:t>
            </a:r>
            <a:endParaRPr lang="es-ES_tradnl"/>
          </a:p>
          <a:p>
            <a:pPr lvl="3"/>
            <a:r>
              <a:rPr lang="es-ES_tradnl" err="1"/>
              <a:t>Fourth</a:t>
            </a:r>
            <a:r>
              <a:rPr lang="es-ES_tradnl"/>
              <a:t> </a:t>
            </a:r>
            <a:r>
              <a:rPr lang="es-ES_tradnl" err="1"/>
              <a:t>level</a:t>
            </a:r>
            <a:endParaRPr lang="es-ES_tradnl"/>
          </a:p>
          <a:p>
            <a:pPr lvl="4"/>
            <a:r>
              <a:rPr lang="es-ES_tradnl" err="1"/>
              <a:t>Fifth</a:t>
            </a:r>
            <a:r>
              <a:rPr lang="es-ES_tradnl"/>
              <a:t> </a:t>
            </a:r>
            <a:r>
              <a:rPr lang="es-ES_tradnl" err="1"/>
              <a:t>level</a:t>
            </a:r>
            <a:endParaRPr lang="es-ES_tradnl"/>
          </a:p>
        </p:txBody>
      </p:sp>
    </p:spTree>
    <p:extLst>
      <p:ext uri="{BB962C8B-B14F-4D97-AF65-F5344CB8AC3E}">
        <p14:creationId xmlns:p14="http://schemas.microsoft.com/office/powerpoint/2010/main" val="22797550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3" name="Object 596" hidden="1"/>
          <p:cNvGraphicFramePr>
            <a:graphicFrameLocks noChangeAspect="1"/>
          </p:cNvGraphicFramePr>
          <p:nvPr>
            <p:custDataLst>
              <p:tags r:id="rId2"/>
            </p:custDataLst>
            <p:extLst/>
          </p:nvPr>
        </p:nvGraphicFramePr>
        <p:xfrm>
          <a:off x="1982" y="1613"/>
          <a:ext cx="1953" cy="1587"/>
        </p:xfrm>
        <a:graphic>
          <a:graphicData uri="http://schemas.openxmlformats.org/presentationml/2006/ole">
            <mc:AlternateContent xmlns:mc="http://schemas.openxmlformats.org/markup-compatibility/2006">
              <mc:Choice xmlns:v="urn:schemas-microsoft-com:vml" Requires="v">
                <p:oleObj spid="_x0000_s53572" name="think-cell Slide" r:id="rId4" imgW="360" imgH="360" progId="">
                  <p:embed/>
                </p:oleObj>
              </mc:Choice>
              <mc:Fallback>
                <p:oleObj name="think-cell Slide" r:id="rId4" imgW="360" imgH="360" progId="">
                  <p:embed/>
                  <p:pic>
                    <p:nvPicPr>
                      <p:cNvPr id="3" name="Object 59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2" y="161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1 Imagen"/>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14 Imagen" descr="CapaSeparadorTemaPlantilla.png"/>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9"/>
          <p:cNvSpPr>
            <a:spLocks noGrp="1"/>
          </p:cNvSpPr>
          <p:nvPr>
            <p:ph type="body" sz="quarter" idx="10"/>
          </p:nvPr>
        </p:nvSpPr>
        <p:spPr>
          <a:xfrm>
            <a:off x="3439610" y="5970588"/>
            <a:ext cx="8236601" cy="519112"/>
          </a:xfrm>
          <a:prstGeom prst="rect">
            <a:avLst/>
          </a:prstGeom>
        </p:spPr>
        <p:txBody>
          <a:bodyPr lIns="91414" tIns="45706" rIns="91414" bIns="45706"/>
          <a:lstStyle>
            <a:lvl1pPr marL="0" indent="0">
              <a:spcBef>
                <a:spcPts val="768"/>
              </a:spcBef>
              <a:buFontTx/>
              <a:buNone/>
              <a:defRPr sz="3200" b="1">
                <a:solidFill>
                  <a:srgbClr val="007635"/>
                </a:solidFill>
                <a:latin typeface="+mn-lt"/>
              </a:defRPr>
            </a:lvl1pPr>
            <a:lvl2pPr marL="183548" indent="0">
              <a:buFontTx/>
              <a:buNone/>
              <a:defRPr/>
            </a:lvl2pPr>
            <a:lvl3pPr marL="357086" indent="0">
              <a:buFontTx/>
              <a:buNone/>
              <a:defRPr/>
            </a:lvl3pPr>
            <a:lvl4pPr marL="538009" indent="0">
              <a:buFontTx/>
              <a:buNone/>
              <a:defRPr/>
            </a:lvl4pPr>
            <a:lvl5pPr marL="719794" indent="0">
              <a:buFontTx/>
              <a:buNone/>
              <a:defRPr/>
            </a:lvl5pPr>
          </a:lstStyle>
          <a:p>
            <a:pPr lvl="0"/>
            <a:r>
              <a:rPr lang="es-ES_tradnl" err="1"/>
              <a:t>Click</a:t>
            </a:r>
            <a:r>
              <a:rPr lang="es-ES_tradnl"/>
              <a:t> </a:t>
            </a:r>
            <a:r>
              <a:rPr lang="es-ES_tradnl" err="1"/>
              <a:t>to</a:t>
            </a:r>
            <a:r>
              <a:rPr lang="es-ES_tradnl"/>
              <a:t> </a:t>
            </a:r>
            <a:r>
              <a:rPr lang="es-ES_tradnl" err="1"/>
              <a:t>edit</a:t>
            </a:r>
            <a:r>
              <a:rPr lang="es-ES_tradnl"/>
              <a:t> Master </a:t>
            </a:r>
            <a:r>
              <a:rPr lang="es-ES_tradnl" err="1"/>
              <a:t>text</a:t>
            </a:r>
            <a:r>
              <a:rPr lang="es-ES_tradnl"/>
              <a:t> </a:t>
            </a:r>
            <a:r>
              <a:rPr lang="es-ES_tradnl" err="1"/>
              <a:t>styles</a:t>
            </a:r>
            <a:endParaRPr lang="es-ES_tradnl"/>
          </a:p>
        </p:txBody>
      </p:sp>
    </p:spTree>
    <p:extLst>
      <p:ext uri="{BB962C8B-B14F-4D97-AF65-F5344CB8AC3E}">
        <p14:creationId xmlns:p14="http://schemas.microsoft.com/office/powerpoint/2010/main" val="2318941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Diapositiva títulos">
    <p:spTree>
      <p:nvGrpSpPr>
        <p:cNvPr id="1" name=""/>
        <p:cNvGrpSpPr/>
        <p:nvPr/>
      </p:nvGrpSpPr>
      <p:grpSpPr>
        <a:xfrm>
          <a:off x="0" y="0"/>
          <a:ext cx="0" cy="0"/>
          <a:chOff x="0" y="0"/>
          <a:chExt cx="0" cy="0"/>
        </a:xfrm>
      </p:grpSpPr>
      <p:pic>
        <p:nvPicPr>
          <p:cNvPr id="2" name="1 Imagen"/>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1 Título"/>
          <p:cNvSpPr>
            <a:spLocks noGrp="1"/>
          </p:cNvSpPr>
          <p:nvPr>
            <p:ph type="title" hasCustomPrompt="1"/>
          </p:nvPr>
        </p:nvSpPr>
        <p:spPr>
          <a:xfrm>
            <a:off x="719407" y="1556792"/>
            <a:ext cx="5088567" cy="3744416"/>
          </a:xfrm>
          <a:prstGeom prst="rect">
            <a:avLst/>
          </a:prstGeom>
        </p:spPr>
        <p:txBody>
          <a:bodyPr lIns="91384" tIns="45691" rIns="91384" bIns="45691"/>
          <a:lstStyle>
            <a:lvl1pPr algn="just">
              <a:defRPr sz="1800">
                <a:solidFill>
                  <a:schemeClr val="tx1">
                    <a:lumMod val="65000"/>
                    <a:lumOff val="35000"/>
                  </a:schemeClr>
                </a:solidFill>
                <a:latin typeface="Trebuchet MS" pitchFamily="34" charset="0"/>
              </a:defRPr>
            </a:lvl1pPr>
          </a:lstStyle>
          <a:p>
            <a:r>
              <a:rPr lang="es-ES"/>
              <a:t>Texto párrafo subtema, escriba aquí la información relacionada con el subtema. Texto párrafo subtema, escriba aquí la información relacionada con el subtema. Texto párrafo subtema, escriba aquí la información relacionada con el subtema. Texto párrafo subtema, escriba aquí la información relacionada con el subtema.</a:t>
            </a:r>
            <a:endParaRPr lang="es-CO"/>
          </a:p>
        </p:txBody>
      </p:sp>
      <p:sp>
        <p:nvSpPr>
          <p:cNvPr id="12" name="2 Marcador de texto"/>
          <p:cNvSpPr>
            <a:spLocks noGrp="1"/>
          </p:cNvSpPr>
          <p:nvPr>
            <p:ph type="body" idx="13" hasCustomPrompt="1"/>
          </p:nvPr>
        </p:nvSpPr>
        <p:spPr>
          <a:xfrm>
            <a:off x="395216" y="174837"/>
            <a:ext cx="10363200" cy="288032"/>
          </a:xfrm>
          <a:prstGeom prst="rect">
            <a:avLst/>
          </a:prstGeom>
        </p:spPr>
        <p:txBody>
          <a:bodyPr lIns="91384" tIns="45691" rIns="91384" bIns="45691" anchor="b"/>
          <a:lstStyle>
            <a:lvl1pPr marL="0" indent="0">
              <a:buNone/>
              <a:defRPr sz="1400" baseline="0">
                <a:solidFill>
                  <a:schemeClr val="tx1">
                    <a:tint val="75000"/>
                  </a:schemeClr>
                </a:solidFill>
                <a:latin typeface="Trebuchet MS" pitchFamily="34" charset="0"/>
              </a:defRPr>
            </a:lvl1pPr>
            <a:lvl2pPr marL="456919" indent="0">
              <a:buNone/>
              <a:defRPr sz="1800">
                <a:solidFill>
                  <a:schemeClr val="tx1">
                    <a:tint val="75000"/>
                  </a:schemeClr>
                </a:solidFill>
              </a:defRPr>
            </a:lvl2pPr>
            <a:lvl3pPr marL="913838" indent="0">
              <a:buNone/>
              <a:defRPr sz="1700">
                <a:solidFill>
                  <a:schemeClr val="tx1">
                    <a:tint val="75000"/>
                  </a:schemeClr>
                </a:solidFill>
              </a:defRPr>
            </a:lvl3pPr>
            <a:lvl4pPr marL="1370756" indent="0">
              <a:buNone/>
              <a:defRPr sz="1400">
                <a:solidFill>
                  <a:schemeClr val="tx1">
                    <a:tint val="75000"/>
                  </a:schemeClr>
                </a:solidFill>
              </a:defRPr>
            </a:lvl4pPr>
            <a:lvl5pPr marL="1827676" indent="0">
              <a:buNone/>
              <a:defRPr sz="1400">
                <a:solidFill>
                  <a:schemeClr val="tx1">
                    <a:tint val="75000"/>
                  </a:schemeClr>
                </a:solidFill>
              </a:defRPr>
            </a:lvl5pPr>
            <a:lvl6pPr marL="2284596" indent="0">
              <a:buNone/>
              <a:defRPr sz="1400">
                <a:solidFill>
                  <a:schemeClr val="tx1">
                    <a:tint val="75000"/>
                  </a:schemeClr>
                </a:solidFill>
              </a:defRPr>
            </a:lvl6pPr>
            <a:lvl7pPr marL="2741514" indent="0">
              <a:buNone/>
              <a:defRPr sz="1400">
                <a:solidFill>
                  <a:schemeClr val="tx1">
                    <a:tint val="75000"/>
                  </a:schemeClr>
                </a:solidFill>
              </a:defRPr>
            </a:lvl7pPr>
            <a:lvl8pPr marL="3198434" indent="0">
              <a:buNone/>
              <a:defRPr sz="1400">
                <a:solidFill>
                  <a:schemeClr val="tx1">
                    <a:tint val="75000"/>
                  </a:schemeClr>
                </a:solidFill>
              </a:defRPr>
            </a:lvl8pPr>
            <a:lvl9pPr marL="3655353" indent="0">
              <a:buNone/>
              <a:defRPr sz="1400">
                <a:solidFill>
                  <a:schemeClr val="tx1">
                    <a:tint val="75000"/>
                  </a:schemeClr>
                </a:solidFill>
              </a:defRPr>
            </a:lvl9pPr>
          </a:lstStyle>
          <a:p>
            <a:pPr lvl="0"/>
            <a:r>
              <a:rPr lang="es-ES"/>
              <a:t>Caso  de Negocio: Gestión Financiera Integrada</a:t>
            </a:r>
          </a:p>
        </p:txBody>
      </p:sp>
      <p:sp>
        <p:nvSpPr>
          <p:cNvPr id="13" name="2 Marcador de texto"/>
          <p:cNvSpPr>
            <a:spLocks noGrp="1"/>
          </p:cNvSpPr>
          <p:nvPr>
            <p:ph type="body" idx="14" hasCustomPrompt="1"/>
          </p:nvPr>
        </p:nvSpPr>
        <p:spPr>
          <a:xfrm>
            <a:off x="725355" y="548680"/>
            <a:ext cx="10363200" cy="432048"/>
          </a:xfrm>
          <a:prstGeom prst="rect">
            <a:avLst/>
          </a:prstGeom>
        </p:spPr>
        <p:txBody>
          <a:bodyPr lIns="91384" tIns="45691" rIns="91384" bIns="45691" anchor="b"/>
          <a:lstStyle>
            <a:lvl1pPr marL="0" indent="0">
              <a:buNone/>
              <a:defRPr sz="3200" b="1" baseline="0">
                <a:solidFill>
                  <a:srgbClr val="007934"/>
                </a:solidFill>
                <a:latin typeface="Trebuchet MS" pitchFamily="34" charset="0"/>
              </a:defRPr>
            </a:lvl1pPr>
            <a:lvl2pPr marL="456919" indent="0">
              <a:buNone/>
              <a:defRPr sz="1800">
                <a:solidFill>
                  <a:schemeClr val="tx1">
                    <a:tint val="75000"/>
                  </a:schemeClr>
                </a:solidFill>
              </a:defRPr>
            </a:lvl2pPr>
            <a:lvl3pPr marL="913838" indent="0">
              <a:buNone/>
              <a:defRPr sz="1700">
                <a:solidFill>
                  <a:schemeClr val="tx1">
                    <a:tint val="75000"/>
                  </a:schemeClr>
                </a:solidFill>
              </a:defRPr>
            </a:lvl3pPr>
            <a:lvl4pPr marL="1370756" indent="0">
              <a:buNone/>
              <a:defRPr sz="1400">
                <a:solidFill>
                  <a:schemeClr val="tx1">
                    <a:tint val="75000"/>
                  </a:schemeClr>
                </a:solidFill>
              </a:defRPr>
            </a:lvl4pPr>
            <a:lvl5pPr marL="1827676" indent="0">
              <a:buNone/>
              <a:defRPr sz="1400">
                <a:solidFill>
                  <a:schemeClr val="tx1">
                    <a:tint val="75000"/>
                  </a:schemeClr>
                </a:solidFill>
              </a:defRPr>
            </a:lvl5pPr>
            <a:lvl6pPr marL="2284596" indent="0">
              <a:buNone/>
              <a:defRPr sz="1400">
                <a:solidFill>
                  <a:schemeClr val="tx1">
                    <a:tint val="75000"/>
                  </a:schemeClr>
                </a:solidFill>
              </a:defRPr>
            </a:lvl6pPr>
            <a:lvl7pPr marL="2741514" indent="0">
              <a:buNone/>
              <a:defRPr sz="1400">
                <a:solidFill>
                  <a:schemeClr val="tx1">
                    <a:tint val="75000"/>
                  </a:schemeClr>
                </a:solidFill>
              </a:defRPr>
            </a:lvl7pPr>
            <a:lvl8pPr marL="3198434" indent="0">
              <a:buNone/>
              <a:defRPr sz="1400">
                <a:solidFill>
                  <a:schemeClr val="tx1">
                    <a:tint val="75000"/>
                  </a:schemeClr>
                </a:solidFill>
              </a:defRPr>
            </a:lvl8pPr>
            <a:lvl9pPr marL="3655353" indent="0">
              <a:buNone/>
              <a:defRPr sz="1400">
                <a:solidFill>
                  <a:schemeClr val="tx1">
                    <a:tint val="75000"/>
                  </a:schemeClr>
                </a:solidFill>
              </a:defRPr>
            </a:lvl9pPr>
          </a:lstStyle>
          <a:p>
            <a:pPr lvl="0"/>
            <a:r>
              <a:rPr lang="es-ES"/>
              <a:t>Título diapositiva</a:t>
            </a:r>
          </a:p>
        </p:txBody>
      </p:sp>
    </p:spTree>
    <p:extLst>
      <p:ext uri="{BB962C8B-B14F-4D97-AF65-F5344CB8AC3E}">
        <p14:creationId xmlns:p14="http://schemas.microsoft.com/office/powerpoint/2010/main" val="5492293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ext Slide (Full P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9888" y="266700"/>
            <a:ext cx="10335681" cy="716400"/>
          </a:xfrm>
        </p:spPr>
        <p:txBody>
          <a:bodyPr vert="horz" lIns="0" tIns="0" rIns="0" bIns="0" rtlCol="0" anchor="t" anchorCtr="0">
            <a:noAutofit/>
          </a:bodyPr>
          <a:lstStyle>
            <a:lvl1pPr>
              <a:defRPr lang="es-ES_tradnl" dirty="0"/>
            </a:lvl1pPr>
          </a:lstStyle>
          <a:p>
            <a:pPr lvl="0"/>
            <a:r>
              <a:rPr lang="es-ES_tradnl"/>
              <a:t>Título diapositiva</a:t>
            </a:r>
          </a:p>
        </p:txBody>
      </p:sp>
      <p:sp>
        <p:nvSpPr>
          <p:cNvPr id="3" name="Content Placeholder 2"/>
          <p:cNvSpPr>
            <a:spLocks noGrp="1"/>
          </p:cNvSpPr>
          <p:nvPr>
            <p:ph idx="1"/>
          </p:nvPr>
        </p:nvSpPr>
        <p:spPr>
          <a:xfrm>
            <a:off x="759888" y="1559538"/>
            <a:ext cx="10363201" cy="4611600"/>
          </a:xfrm>
          <a:prstGeom prst="rect">
            <a:avLst/>
          </a:prstGeom>
        </p:spPr>
        <p:txBody>
          <a:bodyPr/>
          <a:lstStyle>
            <a:lvl1pPr>
              <a:buClr>
                <a:schemeClr val="accent3"/>
              </a:buClr>
              <a:defRPr sz="1600">
                <a:solidFill>
                  <a:srgbClr val="787878"/>
                </a:solidFill>
              </a:defRPr>
            </a:lvl1pPr>
            <a:lvl2pPr marL="457200" indent="-273050">
              <a:defRPr sz="1600">
                <a:solidFill>
                  <a:srgbClr val="787878"/>
                </a:solidFill>
              </a:defRPr>
            </a:lvl2pPr>
            <a:lvl3pPr>
              <a:buClr>
                <a:schemeClr val="accent3"/>
              </a:buClr>
              <a:defRPr sz="1600">
                <a:solidFill>
                  <a:srgbClr val="787878"/>
                </a:solidFill>
              </a:defRPr>
            </a:lvl3pPr>
            <a:lvl4pPr>
              <a:defRPr sz="1600">
                <a:solidFill>
                  <a:srgbClr val="787878"/>
                </a:solidFill>
              </a:defRPr>
            </a:lvl4pPr>
            <a:lvl5pPr>
              <a:buClr>
                <a:schemeClr val="accent3"/>
              </a:buClr>
              <a:defRPr sz="1600">
                <a:solidFill>
                  <a:srgbClr val="787878"/>
                </a:solidFill>
              </a:defRPr>
            </a:lvl5pPr>
          </a:lstStyle>
          <a:p>
            <a:pPr lvl="0"/>
            <a:r>
              <a:rPr lang="es-ES_tradnl"/>
              <a:t>Click to edit Master text styles</a:t>
            </a:r>
          </a:p>
          <a:p>
            <a:pPr lvl="1"/>
            <a:r>
              <a:rPr lang="es-ES_tradnl"/>
              <a:t>Second level</a:t>
            </a:r>
          </a:p>
          <a:p>
            <a:pPr lvl="2"/>
            <a:r>
              <a:rPr lang="es-ES_tradnl"/>
              <a:t>Third level</a:t>
            </a:r>
          </a:p>
          <a:p>
            <a:pPr lvl="3"/>
            <a:r>
              <a:rPr lang="es-ES_tradnl"/>
              <a:t>Fourth level</a:t>
            </a:r>
          </a:p>
          <a:p>
            <a:pPr lvl="4"/>
            <a:r>
              <a:rPr lang="es-ES_tradnl"/>
              <a:t>Fifth level</a:t>
            </a:r>
          </a:p>
        </p:txBody>
      </p:sp>
      <p:sp>
        <p:nvSpPr>
          <p:cNvPr id="7" name="Text Placeholder 6"/>
          <p:cNvSpPr>
            <a:spLocks noGrp="1"/>
          </p:cNvSpPr>
          <p:nvPr>
            <p:ph type="body" sz="quarter" idx="10"/>
          </p:nvPr>
        </p:nvSpPr>
        <p:spPr>
          <a:xfrm>
            <a:off x="743570" y="1132383"/>
            <a:ext cx="10354733" cy="485775"/>
          </a:xfrm>
          <a:prstGeom prst="rect">
            <a:avLst/>
          </a:prstGeom>
        </p:spPr>
        <p:txBody>
          <a:bodyPr/>
          <a:lstStyle>
            <a:lvl1pPr marL="0" indent="0">
              <a:buFontTx/>
              <a:buNone/>
              <a:defRPr sz="2200" b="1">
                <a:solidFill>
                  <a:srgbClr val="5DBF0C"/>
                </a:solidFill>
              </a:defRPr>
            </a:lvl1pPr>
            <a:lvl2pPr marL="183600" indent="0">
              <a:buFontTx/>
              <a:buNone/>
              <a:defRPr sz="2200"/>
            </a:lvl2pPr>
            <a:lvl3pPr marL="357188" indent="0">
              <a:buFontTx/>
              <a:buNone/>
              <a:defRPr sz="2200"/>
            </a:lvl3pPr>
            <a:lvl4pPr marL="538163" indent="0">
              <a:buFontTx/>
              <a:buNone/>
              <a:defRPr sz="2200"/>
            </a:lvl4pPr>
            <a:lvl5pPr marL="720000" indent="0">
              <a:buFontTx/>
              <a:buNone/>
              <a:defRPr sz="2200"/>
            </a:lvl5pPr>
          </a:lstStyle>
          <a:p>
            <a:pPr lvl="0"/>
            <a:r>
              <a:rPr lang="es-ES_tradnl"/>
              <a:t>Click to edit Master text styles</a:t>
            </a:r>
          </a:p>
        </p:txBody>
      </p:sp>
    </p:spTree>
    <p:extLst>
      <p:ext uri="{BB962C8B-B14F-4D97-AF65-F5344CB8AC3E}">
        <p14:creationId xmlns:p14="http://schemas.microsoft.com/office/powerpoint/2010/main" val="38140236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47225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Diapositiva Agenda">
    <p:spTree>
      <p:nvGrpSpPr>
        <p:cNvPr id="1" name=""/>
        <p:cNvGrpSpPr/>
        <p:nvPr/>
      </p:nvGrpSpPr>
      <p:grpSpPr>
        <a:xfrm>
          <a:off x="0" y="0"/>
          <a:ext cx="0" cy="0"/>
          <a:chOff x="0" y="0"/>
          <a:chExt cx="0" cy="0"/>
        </a:xfrm>
      </p:grpSpPr>
      <p:pic>
        <p:nvPicPr>
          <p:cNvPr id="6" name="5 Imagen" descr="04_Plantilla_contenidos.jpg"/>
          <p:cNvPicPr>
            <a:picLocks noChangeAspect="1"/>
          </p:cNvPicPr>
          <p:nvPr userDrawn="1"/>
        </p:nvPicPr>
        <p:blipFill>
          <a:blip r:embed="rId2" cstate="print"/>
          <a:stretch>
            <a:fillRect/>
          </a:stretch>
        </p:blipFill>
        <p:spPr>
          <a:xfrm>
            <a:off x="0" y="0"/>
            <a:ext cx="12192000" cy="6858000"/>
          </a:xfrm>
          <a:prstGeom prst="rect">
            <a:avLst/>
          </a:prstGeom>
        </p:spPr>
      </p:pic>
      <p:sp>
        <p:nvSpPr>
          <p:cNvPr id="2" name="1 Título"/>
          <p:cNvSpPr>
            <a:spLocks noGrp="1"/>
          </p:cNvSpPr>
          <p:nvPr>
            <p:ph type="title" hasCustomPrompt="1"/>
          </p:nvPr>
        </p:nvSpPr>
        <p:spPr>
          <a:xfrm>
            <a:off x="623392" y="332656"/>
            <a:ext cx="10094912" cy="792088"/>
          </a:xfrm>
          <a:prstGeom prst="rect">
            <a:avLst/>
          </a:prstGeom>
        </p:spPr>
        <p:txBody>
          <a:bodyPr>
            <a:normAutofit/>
          </a:bodyPr>
          <a:lstStyle>
            <a:lvl1pPr algn="l">
              <a:defRPr sz="2800" b="1" baseline="0">
                <a:solidFill>
                  <a:srgbClr val="007934"/>
                </a:solidFill>
                <a:latin typeface="Trebuchet MS" pitchFamily="34" charset="0"/>
              </a:defRPr>
            </a:lvl1pPr>
          </a:lstStyle>
          <a:p>
            <a:r>
              <a:rPr lang="es-ES"/>
              <a:t>Agenda / Contenido </a:t>
            </a:r>
            <a:endParaRPr lang="es-CO"/>
          </a:p>
        </p:txBody>
      </p:sp>
      <p:sp>
        <p:nvSpPr>
          <p:cNvPr id="3" name="2 Marcador de contenido"/>
          <p:cNvSpPr>
            <a:spLocks noGrp="1"/>
          </p:cNvSpPr>
          <p:nvPr>
            <p:ph idx="1" hasCustomPrompt="1"/>
          </p:nvPr>
        </p:nvSpPr>
        <p:spPr>
          <a:xfrm>
            <a:off x="609600" y="1988841"/>
            <a:ext cx="10574965" cy="3600401"/>
          </a:xfrm>
          <a:prstGeom prst="rect">
            <a:avLst/>
          </a:prstGeom>
        </p:spPr>
        <p:txBody>
          <a:bodyPr>
            <a:normAutofit/>
          </a:bodyPr>
          <a:lstStyle>
            <a:lvl1pPr>
              <a:buFont typeface="Courier New" pitchFamily="49" charset="0"/>
              <a:buChar char="o"/>
              <a:defRPr sz="2000" b="1" baseline="0">
                <a:solidFill>
                  <a:schemeClr val="tx1">
                    <a:lumMod val="65000"/>
                    <a:lumOff val="35000"/>
                  </a:schemeClr>
                </a:solidFill>
                <a:latin typeface="Trebuchet MS" pitchFamily="34" charset="0"/>
              </a:defRPr>
            </a:lvl1pPr>
            <a:lvl2pPr>
              <a:buFont typeface="Arial" pitchFamily="34" charset="0"/>
              <a:buChar char="•"/>
              <a:defRPr sz="1600" baseline="0">
                <a:solidFill>
                  <a:schemeClr val="tx1">
                    <a:lumMod val="50000"/>
                    <a:lumOff val="50000"/>
                  </a:schemeClr>
                </a:solidFill>
                <a:latin typeface="Trebuchet MS" pitchFamily="34" charset="0"/>
              </a:defRPr>
            </a:lvl2pPr>
          </a:lstStyle>
          <a:p>
            <a:pPr lvl="0"/>
            <a:r>
              <a:rPr lang="es-ES"/>
              <a:t>Título subtema 1</a:t>
            </a:r>
          </a:p>
          <a:p>
            <a:pPr lvl="1"/>
            <a:r>
              <a:rPr lang="es-ES"/>
              <a:t>Título subtema 1.1</a:t>
            </a:r>
          </a:p>
          <a:p>
            <a:pPr lvl="1"/>
            <a:r>
              <a:rPr lang="es-ES"/>
              <a:t>Título subtema 1.2</a:t>
            </a:r>
          </a:p>
          <a:p>
            <a:pPr lvl="0"/>
            <a:r>
              <a:rPr lang="es-ES"/>
              <a:t>Título subtema 2</a:t>
            </a:r>
          </a:p>
          <a:p>
            <a:pPr lvl="1"/>
            <a:r>
              <a:rPr lang="es-ES"/>
              <a:t>Título subtema 2.1</a:t>
            </a:r>
          </a:p>
          <a:p>
            <a:pPr lvl="1"/>
            <a:r>
              <a:rPr lang="es-ES"/>
              <a:t>Título Subtema 2.2</a:t>
            </a:r>
          </a:p>
          <a:p>
            <a:pPr lvl="0"/>
            <a:r>
              <a:rPr lang="es-ES"/>
              <a:t>Título subtema 3</a:t>
            </a:r>
          </a:p>
          <a:p>
            <a:pPr lvl="1"/>
            <a:r>
              <a:rPr lang="es-ES"/>
              <a:t>Título subtema 3.1</a:t>
            </a:r>
          </a:p>
          <a:p>
            <a:pPr lvl="1"/>
            <a:r>
              <a:rPr lang="es-ES"/>
              <a:t>Título Subtema 3.2</a:t>
            </a:r>
            <a:endParaRPr lang="es-CO"/>
          </a:p>
        </p:txBody>
      </p:sp>
      <p:sp>
        <p:nvSpPr>
          <p:cNvPr id="5" name="1 Título"/>
          <p:cNvSpPr txBox="1">
            <a:spLocks/>
          </p:cNvSpPr>
          <p:nvPr userDrawn="1"/>
        </p:nvSpPr>
        <p:spPr>
          <a:xfrm>
            <a:off x="623392" y="1340768"/>
            <a:ext cx="10094912" cy="504056"/>
          </a:xfrm>
          <a:prstGeom prst="rect">
            <a:avLst/>
          </a:prstGeom>
        </p:spPr>
        <p:txBody>
          <a:bodyPr>
            <a:normAutofit/>
          </a:bodyPr>
          <a:lstStyle>
            <a:lvl1pPr algn="l">
              <a:defRPr sz="2800" b="1">
                <a:solidFill>
                  <a:srgbClr val="007934"/>
                </a:solidFill>
                <a:latin typeface="Trebuchet MS" pitchFamily="34" charset="0"/>
              </a:defRPr>
            </a:lvl1pPr>
          </a:lstStyle>
          <a:p>
            <a:pPr>
              <a:spcBef>
                <a:spcPct val="0"/>
              </a:spcBef>
              <a:defRPr/>
            </a:pPr>
            <a:endParaRPr lang="es-CO" sz="2400">
              <a:solidFill>
                <a:srgbClr val="5DBF0C"/>
              </a:solidFill>
            </a:endParaRPr>
          </a:p>
        </p:txBody>
      </p:sp>
    </p:spTree>
    <p:extLst>
      <p:ext uri="{BB962C8B-B14F-4D97-AF65-F5344CB8AC3E}">
        <p14:creationId xmlns:p14="http://schemas.microsoft.com/office/powerpoint/2010/main" val="40005775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Objetos y texto">
    <p:spTree>
      <p:nvGrpSpPr>
        <p:cNvPr id="1" name=""/>
        <p:cNvGrpSpPr/>
        <p:nvPr/>
      </p:nvGrpSpPr>
      <p:grpSpPr>
        <a:xfrm>
          <a:off x="0" y="0"/>
          <a:ext cx="0" cy="0"/>
          <a:chOff x="0" y="0"/>
          <a:chExt cx="0" cy="0"/>
        </a:xfrm>
      </p:grpSpPr>
      <p:sp>
        <p:nvSpPr>
          <p:cNvPr id="2" name="1 Título"/>
          <p:cNvSpPr>
            <a:spLocks noGrp="1"/>
          </p:cNvSpPr>
          <p:nvPr>
            <p:ph type="title"/>
          </p:nvPr>
        </p:nvSpPr>
        <p:spPr>
          <a:xfrm>
            <a:off x="609603" y="398933"/>
            <a:ext cx="8421948" cy="373433"/>
          </a:xfrm>
          <a:prstGeom prst="rect">
            <a:avLst/>
          </a:prstGeom>
        </p:spPr>
        <p:txBody>
          <a:bodyPr lIns="121784" tIns="60891" rIns="121784" bIns="60891"/>
          <a:lstStyle>
            <a:lvl1pPr algn="l">
              <a:defRPr sz="1652" b="1" i="1">
                <a:solidFill>
                  <a:schemeClr val="accent3"/>
                </a:solidFill>
              </a:defRPr>
            </a:lvl1pPr>
          </a:lstStyle>
          <a:p>
            <a:r>
              <a:rPr lang="es-ES"/>
              <a:t>Haga clic para modificar el estilo de título del patrón</a:t>
            </a:r>
            <a:endParaRPr lang="es-CO"/>
          </a:p>
        </p:txBody>
      </p:sp>
      <p:sp>
        <p:nvSpPr>
          <p:cNvPr id="9" name="6 Marcador de contenido"/>
          <p:cNvSpPr>
            <a:spLocks noGrp="1"/>
          </p:cNvSpPr>
          <p:nvPr>
            <p:ph sz="quarter" idx="13"/>
          </p:nvPr>
        </p:nvSpPr>
        <p:spPr>
          <a:xfrm>
            <a:off x="615954" y="1322773"/>
            <a:ext cx="3100833" cy="2041864"/>
          </a:xfrm>
          <a:prstGeom prst="rect">
            <a:avLst/>
          </a:prstGeom>
        </p:spPr>
        <p:txBody>
          <a:bodyPr lIns="121784" tIns="60891" rIns="121784" bIns="60891"/>
          <a:lstStyle>
            <a:lvl1pPr>
              <a:buNone/>
              <a:defRPr sz="1802"/>
            </a:lvl1pPr>
          </a:lstStyle>
          <a:p>
            <a:pPr lvl="0"/>
            <a:r>
              <a:rPr lang="es-ES"/>
              <a:t>Haga clic para modificar el estilo de texto del patrón</a:t>
            </a:r>
          </a:p>
        </p:txBody>
      </p:sp>
      <p:sp>
        <p:nvSpPr>
          <p:cNvPr id="11" name="6 Marcador de contenido"/>
          <p:cNvSpPr>
            <a:spLocks noGrp="1"/>
          </p:cNvSpPr>
          <p:nvPr>
            <p:ph sz="quarter" idx="14"/>
          </p:nvPr>
        </p:nvSpPr>
        <p:spPr>
          <a:xfrm>
            <a:off x="615954" y="3453415"/>
            <a:ext cx="3100833" cy="2041864"/>
          </a:xfrm>
          <a:prstGeom prst="rect">
            <a:avLst/>
          </a:prstGeom>
        </p:spPr>
        <p:txBody>
          <a:bodyPr lIns="121784" tIns="60891" rIns="121784" bIns="60891"/>
          <a:lstStyle>
            <a:lvl1pPr>
              <a:buNone/>
              <a:defRPr sz="1802"/>
            </a:lvl1pPr>
          </a:lstStyle>
          <a:p>
            <a:pPr lvl="0"/>
            <a:r>
              <a:rPr lang="es-ES"/>
              <a:t>Haga clic para modificar el estilo de texto del patrón</a:t>
            </a:r>
          </a:p>
        </p:txBody>
      </p:sp>
      <p:sp>
        <p:nvSpPr>
          <p:cNvPr id="13" name="12 Marcador de contenido"/>
          <p:cNvSpPr>
            <a:spLocks noGrp="1"/>
          </p:cNvSpPr>
          <p:nvPr>
            <p:ph sz="quarter" idx="15"/>
          </p:nvPr>
        </p:nvSpPr>
        <p:spPr>
          <a:xfrm>
            <a:off x="615517" y="799220"/>
            <a:ext cx="8427870" cy="266700"/>
          </a:xfrm>
          <a:prstGeom prst="rect">
            <a:avLst/>
          </a:prstGeom>
        </p:spPr>
        <p:txBody>
          <a:bodyPr lIns="121784" tIns="60891" rIns="121784" bIns="60891"/>
          <a:lstStyle>
            <a:lvl1pPr>
              <a:buNone/>
              <a:defRPr sz="1652" i="1">
                <a:solidFill>
                  <a:schemeClr val="accent6"/>
                </a:solidFill>
              </a:defRPr>
            </a:lvl1pPr>
          </a:lstStyle>
          <a:p>
            <a:pPr lvl="0"/>
            <a:r>
              <a:rPr lang="es-ES"/>
              <a:t>Haga clic para modificar el estilo de texto del patrón</a:t>
            </a:r>
          </a:p>
        </p:txBody>
      </p:sp>
      <p:sp>
        <p:nvSpPr>
          <p:cNvPr id="7" name="5 Marcador de texto"/>
          <p:cNvSpPr>
            <a:spLocks noGrp="1"/>
          </p:cNvSpPr>
          <p:nvPr>
            <p:ph type="body" sz="quarter" idx="16"/>
          </p:nvPr>
        </p:nvSpPr>
        <p:spPr>
          <a:xfrm>
            <a:off x="3846991" y="1322774"/>
            <a:ext cx="7563775" cy="4172504"/>
          </a:xfrm>
          <a:prstGeom prst="rect">
            <a:avLst/>
          </a:prstGeom>
        </p:spPr>
        <p:txBody>
          <a:bodyPr lIns="121784" tIns="60891" rIns="121784" bIns="60891" anchor="ctr"/>
          <a:lstStyle>
            <a:lvl1pPr algn="l">
              <a:buFontTx/>
              <a:buBlip>
                <a:blip r:embed="rId2"/>
              </a:buBlip>
              <a:defRPr sz="1802">
                <a:solidFill>
                  <a:schemeClr val="tx1"/>
                </a:solidFill>
              </a:defRPr>
            </a:lvl1pPr>
          </a:lstStyle>
          <a:p>
            <a:pPr lvl="0"/>
            <a:r>
              <a:rPr lang="es-ES"/>
              <a:t>Haga clic para modificar el estilo de texto del patrón</a:t>
            </a:r>
          </a:p>
        </p:txBody>
      </p:sp>
    </p:spTree>
    <p:extLst>
      <p:ext uri="{BB962C8B-B14F-4D97-AF65-F5344CB8AC3E}">
        <p14:creationId xmlns:p14="http://schemas.microsoft.com/office/powerpoint/2010/main" val="29407697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Diapositiva título presentación">
    <p:spTree>
      <p:nvGrpSpPr>
        <p:cNvPr id="1" name=""/>
        <p:cNvGrpSpPr/>
        <p:nvPr/>
      </p:nvGrpSpPr>
      <p:grpSpPr>
        <a:xfrm>
          <a:off x="0" y="0"/>
          <a:ext cx="0" cy="0"/>
          <a:chOff x="0" y="0"/>
          <a:chExt cx="0" cy="0"/>
        </a:xfrm>
      </p:grpSpPr>
      <p:pic>
        <p:nvPicPr>
          <p:cNvPr id="4" name="3 Imagen" descr="04_Plantilla_contenidos.jpg"/>
          <p:cNvPicPr>
            <a:picLocks noChangeAspect="1"/>
          </p:cNvPicPr>
          <p:nvPr userDrawn="1"/>
        </p:nvPicPr>
        <p:blipFill>
          <a:blip r:embed="rId2" cstate="print"/>
          <a:stretch>
            <a:fillRect/>
          </a:stretch>
        </p:blipFill>
        <p:spPr>
          <a:xfrm>
            <a:off x="0" y="0"/>
            <a:ext cx="12192000" cy="6858000"/>
          </a:xfrm>
          <a:prstGeom prst="rect">
            <a:avLst/>
          </a:prstGeom>
        </p:spPr>
      </p:pic>
      <p:sp>
        <p:nvSpPr>
          <p:cNvPr id="2" name="1 Título"/>
          <p:cNvSpPr>
            <a:spLocks noGrp="1"/>
          </p:cNvSpPr>
          <p:nvPr>
            <p:ph type="title" hasCustomPrompt="1"/>
          </p:nvPr>
        </p:nvSpPr>
        <p:spPr>
          <a:xfrm>
            <a:off x="1487488" y="2780928"/>
            <a:ext cx="9025003" cy="1362075"/>
          </a:xfrm>
          <a:prstGeom prst="rect">
            <a:avLst/>
          </a:prstGeom>
        </p:spPr>
        <p:txBody>
          <a:bodyPr anchor="t"/>
          <a:lstStyle>
            <a:lvl1pPr algn="ctr">
              <a:lnSpc>
                <a:spcPts val="4000"/>
              </a:lnSpc>
              <a:defRPr lang="es-CO" sz="4000" b="1" baseline="0" dirty="0">
                <a:solidFill>
                  <a:srgbClr val="007934"/>
                </a:solidFill>
                <a:latin typeface="Trebuchet MS" pitchFamily="34" charset="0"/>
              </a:defRPr>
            </a:lvl1pPr>
          </a:lstStyle>
          <a:p>
            <a:r>
              <a:rPr lang="es-ES"/>
              <a:t>Título principal de la</a:t>
            </a:r>
            <a:br>
              <a:rPr lang="es-ES"/>
            </a:br>
            <a:r>
              <a:rPr lang="es-ES"/>
              <a:t>Presentación</a:t>
            </a:r>
            <a:endParaRPr lang="es-CO"/>
          </a:p>
        </p:txBody>
      </p:sp>
    </p:spTree>
    <p:extLst>
      <p:ext uri="{BB962C8B-B14F-4D97-AF65-F5344CB8AC3E}">
        <p14:creationId xmlns:p14="http://schemas.microsoft.com/office/powerpoint/2010/main" val="33486063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Separador 02">
    <p:spTree>
      <p:nvGrpSpPr>
        <p:cNvPr id="1" name=""/>
        <p:cNvGrpSpPr/>
        <p:nvPr/>
      </p:nvGrpSpPr>
      <p:grpSpPr>
        <a:xfrm>
          <a:off x="0" y="0"/>
          <a:ext cx="0" cy="0"/>
          <a:chOff x="0" y="0"/>
          <a:chExt cx="0" cy="0"/>
        </a:xfrm>
      </p:grpSpPr>
    </p:spTree>
    <p:extLst>
      <p:ext uri="{BB962C8B-B14F-4D97-AF65-F5344CB8AC3E}">
        <p14:creationId xmlns:p14="http://schemas.microsoft.com/office/powerpoint/2010/main" val="4644561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5_Text Slide (Full P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759912" y="1559538"/>
            <a:ext cx="10363201" cy="4611600"/>
          </a:xfrm>
          <a:prstGeom prst="rect">
            <a:avLst/>
          </a:prstGeom>
        </p:spPr>
        <p:txBody>
          <a:bodyPr lIns="91414" tIns="45706" rIns="91414" bIns="45706"/>
          <a:lstStyle>
            <a:lvl1pPr marL="183548" indent="-183548">
              <a:buClrTx/>
              <a:buFont typeface="Wingdings" pitchFamily="2" charset="2"/>
              <a:buChar char="§"/>
              <a:defRPr sz="1600">
                <a:solidFill>
                  <a:srgbClr val="787878"/>
                </a:solidFill>
                <a:latin typeface="+mn-lt"/>
              </a:defRPr>
            </a:lvl1pPr>
            <a:lvl2pPr marL="457070" indent="-272972">
              <a:buClrTx/>
              <a:defRPr sz="1600">
                <a:solidFill>
                  <a:srgbClr val="787878"/>
                </a:solidFill>
                <a:latin typeface="+mn-lt"/>
              </a:defRPr>
            </a:lvl2pPr>
            <a:lvl3pPr>
              <a:buClrTx/>
              <a:defRPr sz="1600">
                <a:solidFill>
                  <a:srgbClr val="787878"/>
                </a:solidFill>
                <a:latin typeface="+mn-lt"/>
              </a:defRPr>
            </a:lvl3pPr>
            <a:lvl4pPr>
              <a:buClrTx/>
              <a:defRPr sz="1600">
                <a:solidFill>
                  <a:srgbClr val="787878"/>
                </a:solidFill>
                <a:latin typeface="+mn-lt"/>
              </a:defRPr>
            </a:lvl4pPr>
            <a:lvl5pPr>
              <a:buClrTx/>
              <a:defRPr sz="1600">
                <a:solidFill>
                  <a:srgbClr val="787878"/>
                </a:solidFill>
                <a:latin typeface="+mn-lt"/>
              </a:defRPr>
            </a:lvl5pPr>
          </a:lstStyle>
          <a:p>
            <a:pPr lvl="0"/>
            <a:r>
              <a:rPr lang="es-ES_tradnl" err="1"/>
              <a:t>Click</a:t>
            </a:r>
            <a:r>
              <a:rPr lang="es-ES_tradnl"/>
              <a:t> </a:t>
            </a:r>
            <a:r>
              <a:rPr lang="es-ES_tradnl" err="1"/>
              <a:t>to</a:t>
            </a:r>
            <a:r>
              <a:rPr lang="es-ES_tradnl"/>
              <a:t> </a:t>
            </a:r>
            <a:r>
              <a:rPr lang="es-ES_tradnl" err="1"/>
              <a:t>edit</a:t>
            </a:r>
            <a:r>
              <a:rPr lang="es-ES_tradnl"/>
              <a:t> Master </a:t>
            </a:r>
            <a:r>
              <a:rPr lang="es-ES_tradnl" err="1"/>
              <a:t>text</a:t>
            </a:r>
            <a:r>
              <a:rPr lang="es-ES_tradnl"/>
              <a:t> </a:t>
            </a:r>
            <a:r>
              <a:rPr lang="es-ES_tradnl" err="1"/>
              <a:t>styles</a:t>
            </a:r>
            <a:endParaRPr lang="es-ES_tradnl"/>
          </a:p>
          <a:p>
            <a:pPr lvl="1"/>
            <a:r>
              <a:rPr lang="es-ES_tradnl" err="1"/>
              <a:t>Second</a:t>
            </a:r>
            <a:r>
              <a:rPr lang="es-ES_tradnl"/>
              <a:t> </a:t>
            </a:r>
            <a:r>
              <a:rPr lang="es-ES_tradnl" err="1"/>
              <a:t>level</a:t>
            </a:r>
            <a:endParaRPr lang="es-ES_tradnl"/>
          </a:p>
          <a:p>
            <a:pPr lvl="2"/>
            <a:r>
              <a:rPr lang="es-ES_tradnl" err="1"/>
              <a:t>Third</a:t>
            </a:r>
            <a:r>
              <a:rPr lang="es-ES_tradnl"/>
              <a:t> </a:t>
            </a:r>
            <a:r>
              <a:rPr lang="es-ES_tradnl" err="1"/>
              <a:t>level</a:t>
            </a:r>
            <a:endParaRPr lang="es-ES_tradnl"/>
          </a:p>
          <a:p>
            <a:pPr lvl="3"/>
            <a:r>
              <a:rPr lang="es-ES_tradnl" err="1"/>
              <a:t>Fourth</a:t>
            </a:r>
            <a:r>
              <a:rPr lang="es-ES_tradnl"/>
              <a:t> </a:t>
            </a:r>
            <a:r>
              <a:rPr lang="es-ES_tradnl" err="1"/>
              <a:t>level</a:t>
            </a:r>
            <a:endParaRPr lang="es-ES_tradnl"/>
          </a:p>
          <a:p>
            <a:pPr lvl="4"/>
            <a:r>
              <a:rPr lang="es-ES_tradnl" err="1"/>
              <a:t>Fifth</a:t>
            </a:r>
            <a:r>
              <a:rPr lang="es-ES_tradnl"/>
              <a:t> </a:t>
            </a:r>
            <a:r>
              <a:rPr lang="es-ES_tradnl" err="1"/>
              <a:t>level</a:t>
            </a:r>
            <a:endParaRPr lang="es-ES_tradnl"/>
          </a:p>
        </p:txBody>
      </p:sp>
      <p:sp>
        <p:nvSpPr>
          <p:cNvPr id="4" name="3 Título"/>
          <p:cNvSpPr>
            <a:spLocks noGrp="1"/>
          </p:cNvSpPr>
          <p:nvPr>
            <p:ph type="title"/>
          </p:nvPr>
        </p:nvSpPr>
        <p:spPr/>
        <p:txBody>
          <a:bodyPr/>
          <a:lstStyle/>
          <a:p>
            <a:r>
              <a:rPr lang="es-ES"/>
              <a:t>Haga clic para modificar el estilo de título del patrón</a:t>
            </a:r>
            <a:endParaRPr lang="es-CO"/>
          </a:p>
        </p:txBody>
      </p:sp>
    </p:spTree>
    <p:extLst>
      <p:ext uri="{BB962C8B-B14F-4D97-AF65-F5344CB8AC3E}">
        <p14:creationId xmlns:p14="http://schemas.microsoft.com/office/powerpoint/2010/main" val="42810004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Diapositiva de título">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s-ES" smtClean="0"/>
              <a:t>Haga clic para modificar el estilo de título del patrón</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s-ES" smtClean="0"/>
              <a:t>Haga clic para editar el estilo de subtítulo del patrón</a:t>
            </a:r>
            <a:endParaRPr lang="en-US" dirty="0"/>
          </a:p>
        </p:txBody>
      </p:sp>
      <p:sp>
        <p:nvSpPr>
          <p:cNvPr id="4" name="Date Placeholder 3"/>
          <p:cNvSpPr>
            <a:spLocks noGrp="1"/>
          </p:cNvSpPr>
          <p:nvPr>
            <p:ph type="dt" sz="half" idx="10"/>
          </p:nvPr>
        </p:nvSpPr>
        <p:spPr/>
        <p:txBody>
          <a:bodyPr/>
          <a:lstStyle/>
          <a:p>
            <a:fld id="{EA845117-B2D9-44CE-94B1-469A03C3F05A}" type="datetimeFigureOut">
              <a:rPr lang="es-CO" smtClean="0"/>
              <a:t>18/07/2024</a:t>
            </a:fld>
            <a:endParaRPr lang="es-CO"/>
          </a:p>
        </p:txBody>
      </p:sp>
      <p:sp>
        <p:nvSpPr>
          <p:cNvPr id="5" name="Footer Placeholder 4"/>
          <p:cNvSpPr>
            <a:spLocks noGrp="1"/>
          </p:cNvSpPr>
          <p:nvPr>
            <p:ph type="ftr" sz="quarter" idx="11"/>
          </p:nvPr>
        </p:nvSpPr>
        <p:spPr/>
        <p:txBody>
          <a:bodyPr/>
          <a:lstStyle/>
          <a:p>
            <a:endParaRPr lang="es-CO"/>
          </a:p>
        </p:txBody>
      </p:sp>
      <p:sp>
        <p:nvSpPr>
          <p:cNvPr id="6" name="Slide Number Placeholder 5"/>
          <p:cNvSpPr>
            <a:spLocks noGrp="1"/>
          </p:cNvSpPr>
          <p:nvPr>
            <p:ph type="sldNum" sz="quarter" idx="12"/>
          </p:nvPr>
        </p:nvSpPr>
        <p:spPr/>
        <p:txBody>
          <a:bodyPr/>
          <a:lstStyle/>
          <a:p>
            <a:fld id="{D472E822-51DD-481B-9A18-1CA8E598B19F}" type="slidenum">
              <a:rPr lang="es-CO" smtClean="0"/>
              <a:t>‹Nº›</a:t>
            </a:fld>
            <a:endParaRPr lang="es-CO"/>
          </a:p>
        </p:txBody>
      </p:sp>
    </p:spTree>
    <p:extLst>
      <p:ext uri="{BB962C8B-B14F-4D97-AF65-F5344CB8AC3E}">
        <p14:creationId xmlns:p14="http://schemas.microsoft.com/office/powerpoint/2010/main" val="40223515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s-ES" smtClean="0"/>
              <a:t>Haga clic para modificar el estilo de título del patrón</a:t>
            </a:r>
            <a:endParaRPr lang="en-US" dirty="0"/>
          </a:p>
        </p:txBody>
      </p:sp>
      <p:sp>
        <p:nvSpPr>
          <p:cNvPr id="3" name="Content Placeholder 2"/>
          <p:cNvSpPr>
            <a:spLocks noGrp="1"/>
          </p:cNvSpPr>
          <p:nvPr>
            <p:ph idx="1"/>
          </p:nvPr>
        </p:nvSpPr>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Date Placeholder 3"/>
          <p:cNvSpPr>
            <a:spLocks noGrp="1"/>
          </p:cNvSpPr>
          <p:nvPr>
            <p:ph type="dt" sz="half" idx="10"/>
          </p:nvPr>
        </p:nvSpPr>
        <p:spPr/>
        <p:txBody>
          <a:bodyPr/>
          <a:lstStyle/>
          <a:p>
            <a:fld id="{528FC5F6-F338-4AE4-BB23-26385BCFC423}" type="datetimeFigureOut">
              <a:rPr lang="en-US" dirty="0"/>
              <a:t>7/1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113E31D-E2AB-40D1-8B51-AFA5AFEF393A}" type="slidenum">
              <a:rPr lang="en-US" dirty="0"/>
              <a:t>‹Nº›</a:t>
            </a:fld>
            <a:endParaRPr lang="en-US" dirty="0"/>
          </a:p>
        </p:txBody>
      </p:sp>
    </p:spTree>
    <p:extLst>
      <p:ext uri="{BB962C8B-B14F-4D97-AF65-F5344CB8AC3E}">
        <p14:creationId xmlns:p14="http://schemas.microsoft.com/office/powerpoint/2010/main" val="564528426"/>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secHead" preserve="1">
  <p:cSld name="Encabezado de sección">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s-ES" smtClean="0"/>
              <a:t>Haga clic para modificar el estilo de título del patrón</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Editar el estilo de texto del patrón</a:t>
            </a:r>
          </a:p>
        </p:txBody>
      </p:sp>
      <p:sp>
        <p:nvSpPr>
          <p:cNvPr id="4" name="Date Placeholder 3"/>
          <p:cNvSpPr>
            <a:spLocks noGrp="1"/>
          </p:cNvSpPr>
          <p:nvPr>
            <p:ph type="dt" sz="half" idx="10"/>
          </p:nvPr>
        </p:nvSpPr>
        <p:spPr/>
        <p:txBody>
          <a:bodyPr/>
          <a:lstStyle/>
          <a:p>
            <a:fld id="{20EBB0C4-6273-4C6E-B9BD-2EDC30F1CD52}" type="datetimeFigureOut">
              <a:rPr lang="en-US" dirty="0"/>
              <a:t>7/1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Nº›</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7610667"/>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s-ES" smtClean="0"/>
              <a:t>Haga clic para modificar el estilo de título del patrón</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5" name="Date Placeholder 4"/>
          <p:cNvSpPr>
            <a:spLocks noGrp="1"/>
          </p:cNvSpPr>
          <p:nvPr>
            <p:ph type="dt" sz="half" idx="10"/>
          </p:nvPr>
        </p:nvSpPr>
        <p:spPr/>
        <p:txBody>
          <a:bodyPr/>
          <a:lstStyle/>
          <a:p>
            <a:fld id="{19AB4D41-86C1-4908-B66A-0B50CEB3BF29}" type="datetimeFigureOut">
              <a:rPr lang="en-US" dirty="0"/>
              <a:t>7/18/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Nº›</a:t>
            </a:fld>
            <a:endParaRPr lang="en-US" dirty="0"/>
          </a:p>
        </p:txBody>
      </p:sp>
    </p:spTree>
    <p:extLst>
      <p:ext uri="{BB962C8B-B14F-4D97-AF65-F5344CB8AC3E}">
        <p14:creationId xmlns:p14="http://schemas.microsoft.com/office/powerpoint/2010/main" val="3392714060"/>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s-ES" smtClean="0"/>
              <a:t>Haga clic para modificar el estilo de título del patrón</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Editar el estilo de texto del patrón</a:t>
            </a:r>
          </a:p>
        </p:txBody>
      </p:sp>
      <p:sp>
        <p:nvSpPr>
          <p:cNvPr id="4" name="Content Placeholder 3"/>
          <p:cNvSpPr>
            <a:spLocks noGrp="1"/>
          </p:cNvSpPr>
          <p:nvPr>
            <p:ph sz="half" idx="2"/>
          </p:nvPr>
        </p:nvSpPr>
        <p:spPr>
          <a:xfrm>
            <a:off x="1097280" y="2582334"/>
            <a:ext cx="4937760" cy="3378200"/>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Editar el estilo de texto del patrón</a:t>
            </a:r>
          </a:p>
        </p:txBody>
      </p:sp>
      <p:sp>
        <p:nvSpPr>
          <p:cNvPr id="6" name="Content Placeholder 5"/>
          <p:cNvSpPr>
            <a:spLocks noGrp="1"/>
          </p:cNvSpPr>
          <p:nvPr>
            <p:ph sz="quarter" idx="4"/>
          </p:nvPr>
        </p:nvSpPr>
        <p:spPr>
          <a:xfrm>
            <a:off x="6217920" y="2582334"/>
            <a:ext cx="4937760" cy="3378200"/>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7" name="Date Placeholder 6"/>
          <p:cNvSpPr>
            <a:spLocks noGrp="1"/>
          </p:cNvSpPr>
          <p:nvPr>
            <p:ph type="dt" sz="half" idx="10"/>
          </p:nvPr>
        </p:nvSpPr>
        <p:spPr/>
        <p:txBody>
          <a:bodyPr/>
          <a:lstStyle/>
          <a:p>
            <a:fld id="{E6426E2C-56C1-4E0D-A793-0088A7FDD37E}" type="datetimeFigureOut">
              <a:rPr lang="en-US" dirty="0"/>
              <a:t>7/18/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t>‹Nº›</a:t>
            </a:fld>
            <a:endParaRPr lang="en-US" dirty="0"/>
          </a:p>
        </p:txBody>
      </p:sp>
    </p:spTree>
    <p:extLst>
      <p:ext uri="{BB962C8B-B14F-4D97-AF65-F5344CB8AC3E}">
        <p14:creationId xmlns:p14="http://schemas.microsoft.com/office/powerpoint/2010/main" val="2229998360"/>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Haga clic para modificar el estilo de título del patrón</a:t>
            </a:r>
            <a:endParaRPr lang="en-US" dirty="0"/>
          </a:p>
        </p:txBody>
      </p:sp>
      <p:sp>
        <p:nvSpPr>
          <p:cNvPr id="3" name="Date Placeholder 2"/>
          <p:cNvSpPr>
            <a:spLocks noGrp="1"/>
          </p:cNvSpPr>
          <p:nvPr>
            <p:ph type="dt" sz="half" idx="10"/>
          </p:nvPr>
        </p:nvSpPr>
        <p:spPr/>
        <p:txBody>
          <a:bodyPr/>
          <a:lstStyle/>
          <a:p>
            <a:fld id="{C8C39B41-D8B5-4052-B551-9B5525EAA8B6}" type="datetimeFigureOut">
              <a:rPr lang="en-US" dirty="0"/>
              <a:t>7/18/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Nº›</a:t>
            </a:fld>
            <a:endParaRPr lang="en-US" dirty="0"/>
          </a:p>
        </p:txBody>
      </p:sp>
    </p:spTree>
    <p:extLst>
      <p:ext uri="{BB962C8B-B14F-4D97-AF65-F5344CB8AC3E}">
        <p14:creationId xmlns:p14="http://schemas.microsoft.com/office/powerpoint/2010/main" val="3893084963"/>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blank" preserve="1">
  <p:cSld name="En blanco">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EA845117-B2D9-44CE-94B1-469A03C3F05A}" type="datetimeFigureOut">
              <a:rPr lang="es-CO" smtClean="0"/>
              <a:t>18/07/2024</a:t>
            </a:fld>
            <a:endParaRPr lang="es-CO"/>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s-CO"/>
          </a:p>
        </p:txBody>
      </p:sp>
      <p:sp>
        <p:nvSpPr>
          <p:cNvPr id="9" name="Slide Number Placeholder 8"/>
          <p:cNvSpPr>
            <a:spLocks noGrp="1"/>
          </p:cNvSpPr>
          <p:nvPr>
            <p:ph type="sldNum" sz="quarter" idx="12"/>
          </p:nvPr>
        </p:nvSpPr>
        <p:spPr/>
        <p:txBody>
          <a:bodyPr/>
          <a:lstStyle/>
          <a:p>
            <a:fld id="{D472E822-51DD-481B-9A18-1CA8E598B19F}" type="slidenum">
              <a:rPr lang="es-CO" smtClean="0"/>
              <a:t>‹Nº›</a:t>
            </a:fld>
            <a:endParaRPr lang="es-CO"/>
          </a:p>
        </p:txBody>
      </p:sp>
    </p:spTree>
    <p:extLst>
      <p:ext uri="{BB962C8B-B14F-4D97-AF65-F5344CB8AC3E}">
        <p14:creationId xmlns:p14="http://schemas.microsoft.com/office/powerpoint/2010/main" val="28275321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_Objetos y textos">
    <p:spTree>
      <p:nvGrpSpPr>
        <p:cNvPr id="1" name=""/>
        <p:cNvGrpSpPr/>
        <p:nvPr/>
      </p:nvGrpSpPr>
      <p:grpSpPr>
        <a:xfrm>
          <a:off x="0" y="0"/>
          <a:ext cx="0" cy="0"/>
          <a:chOff x="0" y="0"/>
          <a:chExt cx="0" cy="0"/>
        </a:xfrm>
      </p:grpSpPr>
      <p:sp>
        <p:nvSpPr>
          <p:cNvPr id="2" name="1 Título"/>
          <p:cNvSpPr>
            <a:spLocks noGrp="1"/>
          </p:cNvSpPr>
          <p:nvPr>
            <p:ph type="title"/>
          </p:nvPr>
        </p:nvSpPr>
        <p:spPr>
          <a:xfrm>
            <a:off x="609603" y="398933"/>
            <a:ext cx="8421948" cy="373433"/>
          </a:xfrm>
          <a:prstGeom prst="rect">
            <a:avLst/>
          </a:prstGeom>
        </p:spPr>
        <p:txBody>
          <a:bodyPr lIns="121784" tIns="60891" rIns="121784" bIns="60891"/>
          <a:lstStyle>
            <a:lvl1pPr algn="l">
              <a:defRPr sz="1652" b="1" i="1">
                <a:solidFill>
                  <a:schemeClr val="accent3"/>
                </a:solidFill>
              </a:defRPr>
            </a:lvl1pPr>
          </a:lstStyle>
          <a:p>
            <a:r>
              <a:rPr lang="es-ES"/>
              <a:t>Haga clic para modificar el estilo de título del patrón</a:t>
            </a:r>
            <a:endParaRPr lang="es-CO"/>
          </a:p>
        </p:txBody>
      </p:sp>
      <p:sp>
        <p:nvSpPr>
          <p:cNvPr id="8" name="6 Marcador de contenido"/>
          <p:cNvSpPr>
            <a:spLocks noGrp="1"/>
          </p:cNvSpPr>
          <p:nvPr>
            <p:ph sz="quarter" idx="13"/>
          </p:nvPr>
        </p:nvSpPr>
        <p:spPr>
          <a:xfrm>
            <a:off x="6001740" y="870012"/>
            <a:ext cx="5409029" cy="3400148"/>
          </a:xfrm>
          <a:prstGeom prst="rect">
            <a:avLst/>
          </a:prstGeom>
        </p:spPr>
        <p:txBody>
          <a:bodyPr lIns="121784" tIns="60891" rIns="121784" bIns="60891"/>
          <a:lstStyle>
            <a:lvl1pPr>
              <a:buNone/>
              <a:defRPr sz="1802"/>
            </a:lvl1pPr>
          </a:lstStyle>
          <a:p>
            <a:pPr lvl="0"/>
            <a:r>
              <a:rPr lang="es-ES"/>
              <a:t>Haga clic para modificar el estilo de texto del patrón</a:t>
            </a:r>
          </a:p>
        </p:txBody>
      </p:sp>
      <p:sp>
        <p:nvSpPr>
          <p:cNvPr id="9" name="5 Marcador de texto"/>
          <p:cNvSpPr>
            <a:spLocks noGrp="1"/>
          </p:cNvSpPr>
          <p:nvPr>
            <p:ph type="body" sz="quarter" idx="16"/>
          </p:nvPr>
        </p:nvSpPr>
        <p:spPr>
          <a:xfrm>
            <a:off x="615522" y="870013"/>
            <a:ext cx="5291091" cy="3400146"/>
          </a:xfrm>
          <a:prstGeom prst="rect">
            <a:avLst/>
          </a:prstGeom>
        </p:spPr>
        <p:txBody>
          <a:bodyPr lIns="121784" tIns="60891" rIns="121784" bIns="60891" anchor="ctr"/>
          <a:lstStyle>
            <a:lvl1pPr algn="l">
              <a:buFontTx/>
              <a:buBlip>
                <a:blip r:embed="rId2"/>
              </a:buBlip>
              <a:defRPr sz="1802">
                <a:solidFill>
                  <a:schemeClr val="tx1"/>
                </a:solidFill>
              </a:defRPr>
            </a:lvl1pPr>
          </a:lstStyle>
          <a:p>
            <a:pPr lvl="0"/>
            <a:r>
              <a:rPr lang="es-ES"/>
              <a:t>Haga clic para modificar el estilo de texto del patrón</a:t>
            </a:r>
          </a:p>
        </p:txBody>
      </p:sp>
      <p:sp>
        <p:nvSpPr>
          <p:cNvPr id="10" name="5 Marcador de texto"/>
          <p:cNvSpPr>
            <a:spLocks noGrp="1"/>
          </p:cNvSpPr>
          <p:nvPr>
            <p:ph type="body" sz="quarter" idx="17"/>
          </p:nvPr>
        </p:nvSpPr>
        <p:spPr>
          <a:xfrm>
            <a:off x="617495" y="4367816"/>
            <a:ext cx="10793271" cy="1679357"/>
          </a:xfrm>
          <a:prstGeom prst="rect">
            <a:avLst/>
          </a:prstGeom>
        </p:spPr>
        <p:txBody>
          <a:bodyPr lIns="121784" tIns="60891" rIns="121784" bIns="60891" anchor="ctr"/>
          <a:lstStyle>
            <a:lvl1pPr algn="l">
              <a:buFontTx/>
              <a:buBlip>
                <a:blip r:embed="rId2"/>
              </a:buBlip>
              <a:defRPr sz="1802">
                <a:solidFill>
                  <a:schemeClr val="tx1"/>
                </a:solidFill>
              </a:defRPr>
            </a:lvl1pPr>
          </a:lstStyle>
          <a:p>
            <a:pPr lvl="0"/>
            <a:r>
              <a:rPr lang="es-ES"/>
              <a:t>Haga clic para modificar el estilo de texto del patrón</a:t>
            </a:r>
          </a:p>
        </p:txBody>
      </p:sp>
    </p:spTree>
    <p:extLst>
      <p:ext uri="{BB962C8B-B14F-4D97-AF65-F5344CB8AC3E}">
        <p14:creationId xmlns:p14="http://schemas.microsoft.com/office/powerpoint/2010/main" val="35581723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objTx" preserve="1">
  <p:cSld name="Contenido con título">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s-ES" smtClean="0"/>
              <a:t>Haga clic para modificar el estilo de título del patrón</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Editar el estilo de texto del patrón</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32ABBEA6-7C60-4B02-AE87-00D78D8422AF}" type="datetimeFigureOut">
              <a:rPr lang="en-US" dirty="0"/>
              <a:t>7/18/2024</a:t>
            </a:fld>
            <a:endParaRPr lang="en-US"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4FAB73BC-B049-4115-A692-8D63A059BFB8}" type="slidenum">
              <a:rPr lang="en-US" dirty="0"/>
              <a:pPr/>
              <a:t>‹Nº›</a:t>
            </a:fld>
            <a:endParaRPr lang="en-US" dirty="0"/>
          </a:p>
        </p:txBody>
      </p:sp>
    </p:spTree>
    <p:extLst>
      <p:ext uri="{BB962C8B-B14F-4D97-AF65-F5344CB8AC3E}">
        <p14:creationId xmlns:p14="http://schemas.microsoft.com/office/powerpoint/2010/main" val="2242522945"/>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picTx" preserve="1">
  <p:cSld name="Imagen con título">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264" cy="822960"/>
          </a:xfrm>
        </p:spPr>
        <p:txBody>
          <a:bodyPr lIns="91440" tIns="0" rIns="91440" bIns="0" anchor="b">
            <a:noAutofit/>
          </a:bodyPr>
          <a:lstStyle>
            <a:lvl1pPr>
              <a:defRPr sz="3600" b="0">
                <a:solidFill>
                  <a:srgbClr val="FFFFFF"/>
                </a:solidFill>
              </a:defRPr>
            </a:lvl1pPr>
          </a:lstStyle>
          <a:p>
            <a:r>
              <a:rPr lang="es-ES" smtClean="0"/>
              <a:t>Haga clic para modificar el estilo de título del patrón</a:t>
            </a:r>
            <a:endParaRPr lang="en-US" dirty="0"/>
          </a:p>
        </p:txBody>
      </p:sp>
      <p:sp>
        <p:nvSpPr>
          <p:cNvPr id="3" name="Picture Placeholder 2"/>
          <p:cNvSpPr>
            <a:spLocks noGrp="1" noChangeAspect="1"/>
          </p:cNvSpPr>
          <p:nvPr>
            <p:ph type="pic" idx="1"/>
          </p:nvPr>
        </p:nvSpPr>
        <p:spPr>
          <a:xfrm>
            <a:off x="15" y="0"/>
            <a:ext cx="12191985" cy="4915076"/>
          </a:xfrm>
          <a:blipFill>
            <a:blip r:embed="rId2"/>
            <a:stretch>
              <a:fillRect/>
            </a:stretch>
          </a:blipFill>
        </p:spPr>
        <p:txBody>
          <a:bodyPr lIns="457200" tIns="457200"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 smtClean="0"/>
              <a:t>Haga clic en el icono para agregar una imagen</a:t>
            </a:r>
            <a:endParaRPr lang="en-US" dirty="0"/>
          </a:p>
        </p:txBody>
      </p:sp>
      <p:sp>
        <p:nvSpPr>
          <p:cNvPr id="4" name="Text Placeholder 3"/>
          <p:cNvSpPr>
            <a:spLocks noGrp="1"/>
          </p:cNvSpPr>
          <p:nvPr>
            <p:ph type="body" sz="half" idx="2"/>
          </p:nvPr>
        </p:nvSpPr>
        <p:spPr>
          <a:xfrm>
            <a:off x="1097280" y="5907023"/>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Editar el estilo de texto del patrón</a:t>
            </a:r>
          </a:p>
        </p:txBody>
      </p:sp>
      <p:sp>
        <p:nvSpPr>
          <p:cNvPr id="5" name="Date Placeholder 4"/>
          <p:cNvSpPr>
            <a:spLocks noGrp="1"/>
          </p:cNvSpPr>
          <p:nvPr>
            <p:ph type="dt" sz="half" idx="10"/>
          </p:nvPr>
        </p:nvSpPr>
        <p:spPr/>
        <p:txBody>
          <a:bodyPr/>
          <a:lstStyle/>
          <a:p>
            <a:fld id="{C9CAD897-D46E-4AD2-BD9B-49DD3E640873}" type="datetimeFigureOut">
              <a:rPr lang="en-US" dirty="0"/>
              <a:t>7/18/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Nº›</a:t>
            </a:fld>
            <a:endParaRPr lang="en-US" dirty="0"/>
          </a:p>
        </p:txBody>
      </p:sp>
    </p:spTree>
    <p:extLst>
      <p:ext uri="{BB962C8B-B14F-4D97-AF65-F5344CB8AC3E}">
        <p14:creationId xmlns:p14="http://schemas.microsoft.com/office/powerpoint/2010/main" val="774223546"/>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Haga clic para modificar el estilo de título del patrón</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Date Placeholder 3"/>
          <p:cNvSpPr>
            <a:spLocks noGrp="1"/>
          </p:cNvSpPr>
          <p:nvPr>
            <p:ph type="dt" sz="half" idx="10"/>
          </p:nvPr>
        </p:nvSpPr>
        <p:spPr/>
        <p:txBody>
          <a:bodyPr/>
          <a:lstStyle/>
          <a:p>
            <a:fld id="{2E2D6473-DF6D-4702-B328-E0DD40540A4E}" type="datetimeFigureOut">
              <a:rPr lang="en-US" dirty="0"/>
              <a:t>7/1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Nº›</a:t>
            </a:fld>
            <a:endParaRPr lang="en-US" dirty="0"/>
          </a:p>
        </p:txBody>
      </p:sp>
    </p:spTree>
    <p:extLst>
      <p:ext uri="{BB962C8B-B14F-4D97-AF65-F5344CB8AC3E}">
        <p14:creationId xmlns:p14="http://schemas.microsoft.com/office/powerpoint/2010/main" val="1698438602"/>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vertTitleAndTx" preserve="1">
  <p:cSld name="Título vertical y texto">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4778"/>
            <a:ext cx="2628900" cy="5757421"/>
          </a:xfrm>
        </p:spPr>
        <p:txBody>
          <a:bodyPr vert="eaVert"/>
          <a:lstStyle/>
          <a:p>
            <a:r>
              <a:rPr lang="es-ES" smtClean="0"/>
              <a:t>Haga clic para modificar el estilo de título del patrón</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Date Placeholder 3"/>
          <p:cNvSpPr>
            <a:spLocks noGrp="1"/>
          </p:cNvSpPr>
          <p:nvPr>
            <p:ph type="dt" sz="half" idx="10"/>
          </p:nvPr>
        </p:nvSpPr>
        <p:spPr/>
        <p:txBody>
          <a:bodyPr/>
          <a:lstStyle/>
          <a:p>
            <a:fld id="{E26F7E3A-B166-407D-9866-32884E7D5B37}" type="datetimeFigureOut">
              <a:rPr lang="en-US" dirty="0"/>
              <a:t>7/1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Nº›</a:t>
            </a:fld>
            <a:endParaRPr lang="en-US" dirty="0"/>
          </a:p>
        </p:txBody>
      </p:sp>
    </p:spTree>
    <p:extLst>
      <p:ext uri="{BB962C8B-B14F-4D97-AF65-F5344CB8AC3E}">
        <p14:creationId xmlns:p14="http://schemas.microsoft.com/office/powerpoint/2010/main" val="2573820287"/>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3_Text Slide (Full Page)">
    <p:spTree>
      <p:nvGrpSpPr>
        <p:cNvPr id="1" name=""/>
        <p:cNvGrpSpPr/>
        <p:nvPr/>
      </p:nvGrpSpPr>
      <p:grpSpPr>
        <a:xfrm>
          <a:off x="0" y="0"/>
          <a:ext cx="0" cy="0"/>
          <a:chOff x="0" y="0"/>
          <a:chExt cx="0" cy="0"/>
        </a:xfrm>
      </p:grpSpPr>
      <p:sp>
        <p:nvSpPr>
          <p:cNvPr id="2" name="Title 1"/>
          <p:cNvSpPr>
            <a:spLocks noGrp="1"/>
          </p:cNvSpPr>
          <p:nvPr>
            <p:ph type="title"/>
          </p:nvPr>
        </p:nvSpPr>
        <p:spPr>
          <a:xfrm>
            <a:off x="759917" y="266748"/>
            <a:ext cx="10335681" cy="865857"/>
          </a:xfrm>
          <a:prstGeom prst="rect">
            <a:avLst/>
          </a:prstGeom>
        </p:spPr>
        <p:txBody>
          <a:bodyPr/>
          <a:lstStyle/>
          <a:p>
            <a:r>
              <a:rPr lang="es-ES"/>
              <a:t>Haga clic para modificar el estilo de título del patrón</a:t>
            </a:r>
            <a:endParaRPr lang="es-MX" dirty="0"/>
          </a:p>
        </p:txBody>
      </p:sp>
      <p:sp>
        <p:nvSpPr>
          <p:cNvPr id="3" name="Content Placeholder 2"/>
          <p:cNvSpPr>
            <a:spLocks noGrp="1"/>
          </p:cNvSpPr>
          <p:nvPr>
            <p:ph idx="1"/>
          </p:nvPr>
        </p:nvSpPr>
        <p:spPr>
          <a:xfrm>
            <a:off x="759917" y="1559538"/>
            <a:ext cx="10363201" cy="4611600"/>
          </a:xfrm>
          <a:prstGeom prst="rect">
            <a:avLst/>
          </a:prstGeom>
        </p:spPr>
        <p:txBody>
          <a:bodyPr/>
          <a:lstStyle>
            <a:lvl1pPr>
              <a:buClr>
                <a:schemeClr val="accent3"/>
              </a:buClr>
              <a:defRPr sz="1600">
                <a:solidFill>
                  <a:srgbClr val="787878"/>
                </a:solidFill>
              </a:defRPr>
            </a:lvl1pPr>
            <a:lvl2pPr marL="457200" indent="-273050">
              <a:defRPr sz="1600">
                <a:solidFill>
                  <a:srgbClr val="787878"/>
                </a:solidFill>
              </a:defRPr>
            </a:lvl2pPr>
            <a:lvl3pPr>
              <a:buClr>
                <a:schemeClr val="accent3"/>
              </a:buClr>
              <a:defRPr sz="1600">
                <a:solidFill>
                  <a:srgbClr val="787878"/>
                </a:solidFill>
              </a:defRPr>
            </a:lvl3pPr>
            <a:lvl4pPr>
              <a:defRPr sz="1600">
                <a:solidFill>
                  <a:srgbClr val="787878"/>
                </a:solidFill>
              </a:defRPr>
            </a:lvl4pPr>
            <a:lvl5pPr>
              <a:buClr>
                <a:schemeClr val="accent3"/>
              </a:buClr>
              <a:defRPr sz="1600">
                <a:solidFill>
                  <a:srgbClr val="787878"/>
                </a:solidFill>
              </a:defRPr>
            </a:lvl5pPr>
          </a:lstStyle>
          <a:p>
            <a:pPr lvl="0"/>
            <a:r>
              <a:rPr lang="es-MX"/>
              <a:t>Click to edit Master text styles</a:t>
            </a:r>
          </a:p>
          <a:p>
            <a:pPr lvl="1"/>
            <a:r>
              <a:rPr lang="es-MX"/>
              <a:t>Second level</a:t>
            </a:r>
          </a:p>
          <a:p>
            <a:pPr lvl="2"/>
            <a:r>
              <a:rPr lang="es-MX"/>
              <a:t>Third level</a:t>
            </a:r>
          </a:p>
          <a:p>
            <a:pPr lvl="3"/>
            <a:r>
              <a:rPr lang="es-MX"/>
              <a:t>Fourth level</a:t>
            </a:r>
          </a:p>
          <a:p>
            <a:pPr lvl="4"/>
            <a:r>
              <a:rPr lang="es-MX"/>
              <a:t>Fifth level</a:t>
            </a:r>
            <a:endParaRPr lang="es-MX" dirty="0"/>
          </a:p>
        </p:txBody>
      </p:sp>
      <p:sp>
        <p:nvSpPr>
          <p:cNvPr id="7" name="Text Placeholder 6"/>
          <p:cNvSpPr>
            <a:spLocks noGrp="1"/>
          </p:cNvSpPr>
          <p:nvPr>
            <p:ph type="body" sz="quarter" idx="10"/>
          </p:nvPr>
        </p:nvSpPr>
        <p:spPr>
          <a:xfrm>
            <a:off x="743570" y="1132427"/>
            <a:ext cx="10354733" cy="485775"/>
          </a:xfrm>
          <a:prstGeom prst="rect">
            <a:avLst/>
          </a:prstGeom>
        </p:spPr>
        <p:txBody>
          <a:bodyPr/>
          <a:lstStyle>
            <a:lvl1pPr marL="0" indent="0">
              <a:buFontTx/>
              <a:buNone/>
              <a:defRPr sz="2200" b="1">
                <a:solidFill>
                  <a:srgbClr val="5DBF0C"/>
                </a:solidFill>
              </a:defRPr>
            </a:lvl1pPr>
            <a:lvl2pPr marL="183600" indent="0">
              <a:buFontTx/>
              <a:buNone/>
              <a:defRPr sz="2200"/>
            </a:lvl2pPr>
            <a:lvl3pPr marL="357188" indent="0">
              <a:buFontTx/>
              <a:buNone/>
              <a:defRPr sz="2200"/>
            </a:lvl3pPr>
            <a:lvl4pPr marL="538163" indent="0">
              <a:buFontTx/>
              <a:buNone/>
              <a:defRPr sz="2200"/>
            </a:lvl4pPr>
            <a:lvl5pPr marL="720000" indent="0">
              <a:buFontTx/>
              <a:buNone/>
              <a:defRPr sz="2200"/>
            </a:lvl5pPr>
          </a:lstStyle>
          <a:p>
            <a:pPr lvl="0"/>
            <a:r>
              <a:rPr lang="es-MX"/>
              <a:t>Click to edit Master text styles</a:t>
            </a:r>
            <a:endParaRPr lang="es-MX" dirty="0"/>
          </a:p>
        </p:txBody>
      </p:sp>
    </p:spTree>
    <p:extLst>
      <p:ext uri="{BB962C8B-B14F-4D97-AF65-F5344CB8AC3E}">
        <p14:creationId xmlns:p14="http://schemas.microsoft.com/office/powerpoint/2010/main" val="994470872"/>
      </p:ext>
    </p:extLst>
  </p:cSld>
  <p:clrMapOvr>
    <a:masterClrMapping/>
  </p:clrMapOvr>
  <p:transition spd="slow"/>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Encabezado, subtitulo y texto">
    <p:spTree>
      <p:nvGrpSpPr>
        <p:cNvPr id="1" name=""/>
        <p:cNvGrpSpPr/>
        <p:nvPr/>
      </p:nvGrpSpPr>
      <p:grpSpPr>
        <a:xfrm>
          <a:off x="0" y="0"/>
          <a:ext cx="0" cy="0"/>
          <a:chOff x="0" y="0"/>
          <a:chExt cx="0" cy="0"/>
        </a:xfrm>
      </p:grpSpPr>
      <p:sp>
        <p:nvSpPr>
          <p:cNvPr id="2" name="1 Título"/>
          <p:cNvSpPr>
            <a:spLocks noGrp="1"/>
          </p:cNvSpPr>
          <p:nvPr>
            <p:ph type="title"/>
          </p:nvPr>
        </p:nvSpPr>
        <p:spPr>
          <a:xfrm>
            <a:off x="609603" y="398933"/>
            <a:ext cx="8421948" cy="373433"/>
          </a:xfrm>
          <a:prstGeom prst="rect">
            <a:avLst/>
          </a:prstGeom>
        </p:spPr>
        <p:txBody>
          <a:bodyPr lIns="121784" tIns="60891" rIns="121784" bIns="60891"/>
          <a:lstStyle>
            <a:lvl1pPr algn="l">
              <a:defRPr sz="1652" b="1" i="1">
                <a:solidFill>
                  <a:schemeClr val="accent3"/>
                </a:solidFill>
              </a:defRPr>
            </a:lvl1pPr>
          </a:lstStyle>
          <a:p>
            <a:r>
              <a:rPr lang="es-ES"/>
              <a:t>Haga clic para modificar el estilo de título del patrón</a:t>
            </a:r>
            <a:endParaRPr lang="es-CO"/>
          </a:p>
        </p:txBody>
      </p:sp>
      <p:sp>
        <p:nvSpPr>
          <p:cNvPr id="5" name="12 Marcador de contenido"/>
          <p:cNvSpPr>
            <a:spLocks noGrp="1"/>
          </p:cNvSpPr>
          <p:nvPr>
            <p:ph sz="quarter" idx="15"/>
          </p:nvPr>
        </p:nvSpPr>
        <p:spPr>
          <a:xfrm>
            <a:off x="615517" y="799220"/>
            <a:ext cx="8427870" cy="266700"/>
          </a:xfrm>
          <a:prstGeom prst="rect">
            <a:avLst/>
          </a:prstGeom>
        </p:spPr>
        <p:txBody>
          <a:bodyPr lIns="121784" tIns="60891" rIns="121784" bIns="60891"/>
          <a:lstStyle>
            <a:lvl1pPr>
              <a:buNone/>
              <a:defRPr sz="1652" i="1">
                <a:solidFill>
                  <a:schemeClr val="accent6"/>
                </a:solidFill>
              </a:defRPr>
            </a:lvl1pPr>
          </a:lstStyle>
          <a:p>
            <a:pPr lvl="0"/>
            <a:r>
              <a:rPr lang="es-ES"/>
              <a:t>Haga clic para modificar el estilo de texto del patrón</a:t>
            </a:r>
          </a:p>
        </p:txBody>
      </p:sp>
      <p:sp>
        <p:nvSpPr>
          <p:cNvPr id="7" name="5 Marcador de texto"/>
          <p:cNvSpPr>
            <a:spLocks noGrp="1"/>
          </p:cNvSpPr>
          <p:nvPr>
            <p:ph type="body" sz="quarter" idx="10"/>
          </p:nvPr>
        </p:nvSpPr>
        <p:spPr>
          <a:xfrm>
            <a:off x="615520" y="1118587"/>
            <a:ext cx="11031987" cy="4802820"/>
          </a:xfrm>
          <a:prstGeom prst="rect">
            <a:avLst/>
          </a:prstGeom>
        </p:spPr>
        <p:txBody>
          <a:bodyPr lIns="121784" tIns="60891" rIns="121784" bIns="60891" anchor="ctr"/>
          <a:lstStyle>
            <a:lvl1pPr algn="l">
              <a:buFontTx/>
              <a:buBlip>
                <a:blip r:embed="rId2"/>
              </a:buBlip>
              <a:defRPr sz="1802">
                <a:solidFill>
                  <a:schemeClr val="tx1"/>
                </a:solidFill>
              </a:defRPr>
            </a:lvl1pPr>
          </a:lstStyle>
          <a:p>
            <a:pPr lvl="0"/>
            <a:r>
              <a:rPr lang="es-ES"/>
              <a:t>Haga clic para modificar el estilo de texto del patrón</a:t>
            </a:r>
          </a:p>
        </p:txBody>
      </p:sp>
    </p:spTree>
    <p:extLst>
      <p:ext uri="{BB962C8B-B14F-4D97-AF65-F5344CB8AC3E}">
        <p14:creationId xmlns:p14="http://schemas.microsoft.com/office/powerpoint/2010/main" val="105328715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Separador 02">
    <p:spTree>
      <p:nvGrpSpPr>
        <p:cNvPr id="1" name=""/>
        <p:cNvGrpSpPr/>
        <p:nvPr/>
      </p:nvGrpSpPr>
      <p:grpSpPr>
        <a:xfrm>
          <a:off x="0" y="0"/>
          <a:ext cx="0" cy="0"/>
          <a:chOff x="0" y="0"/>
          <a:chExt cx="0" cy="0"/>
        </a:xfrm>
      </p:grpSpPr>
    </p:spTree>
    <p:extLst>
      <p:ext uri="{BB962C8B-B14F-4D97-AF65-F5344CB8AC3E}">
        <p14:creationId xmlns:p14="http://schemas.microsoft.com/office/powerpoint/2010/main" val="5966027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iapositiva inicial">
    <p:spTree>
      <p:nvGrpSpPr>
        <p:cNvPr id="1" name=""/>
        <p:cNvGrpSpPr/>
        <p:nvPr/>
      </p:nvGrpSpPr>
      <p:grpSpPr>
        <a:xfrm>
          <a:off x="0" y="0"/>
          <a:ext cx="0" cy="0"/>
          <a:chOff x="0" y="0"/>
          <a:chExt cx="0" cy="0"/>
        </a:xfrm>
      </p:grpSpPr>
      <p:pic>
        <p:nvPicPr>
          <p:cNvPr id="4" name="3 Imagen"/>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2717323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apositiva título presentación">
    <p:spTree>
      <p:nvGrpSpPr>
        <p:cNvPr id="1" name=""/>
        <p:cNvGrpSpPr/>
        <p:nvPr/>
      </p:nvGrpSpPr>
      <p:grpSpPr>
        <a:xfrm>
          <a:off x="0" y="0"/>
          <a:ext cx="0" cy="0"/>
          <a:chOff x="0" y="0"/>
          <a:chExt cx="0" cy="0"/>
        </a:xfrm>
      </p:grpSpPr>
      <p:pic>
        <p:nvPicPr>
          <p:cNvPr id="6" name="5 Imagen"/>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1 Título"/>
          <p:cNvSpPr>
            <a:spLocks noGrp="1"/>
          </p:cNvSpPr>
          <p:nvPr>
            <p:ph type="title" hasCustomPrompt="1"/>
          </p:nvPr>
        </p:nvSpPr>
        <p:spPr>
          <a:xfrm>
            <a:off x="1487488" y="2780928"/>
            <a:ext cx="9025003" cy="1362075"/>
          </a:xfrm>
          <a:prstGeom prst="rect">
            <a:avLst/>
          </a:prstGeom>
        </p:spPr>
        <p:txBody>
          <a:bodyPr anchor="t"/>
          <a:lstStyle>
            <a:lvl1pPr algn="ctr">
              <a:lnSpc>
                <a:spcPts val="4000"/>
              </a:lnSpc>
              <a:defRPr lang="es-CO" sz="4000" b="1" baseline="0" dirty="0">
                <a:solidFill>
                  <a:srgbClr val="007934"/>
                </a:solidFill>
                <a:latin typeface="Trebuchet MS" pitchFamily="34" charset="0"/>
              </a:defRPr>
            </a:lvl1pPr>
          </a:lstStyle>
          <a:p>
            <a:r>
              <a:rPr lang="es-ES"/>
              <a:t>Título principal de la</a:t>
            </a:r>
            <a:br>
              <a:rPr lang="es-ES"/>
            </a:br>
            <a:r>
              <a:rPr lang="es-ES"/>
              <a:t>Presentación</a:t>
            </a:r>
            <a:endParaRPr lang="es-CO"/>
          </a:p>
        </p:txBody>
      </p:sp>
    </p:spTree>
    <p:extLst>
      <p:ext uri="{BB962C8B-B14F-4D97-AF65-F5344CB8AC3E}">
        <p14:creationId xmlns:p14="http://schemas.microsoft.com/office/powerpoint/2010/main" val="259875878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apositiva título - subtítul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719403" y="1844824"/>
            <a:ext cx="5088565" cy="3384376"/>
          </a:xfrm>
          <a:prstGeom prst="rect">
            <a:avLst/>
          </a:prstGeom>
        </p:spPr>
        <p:txBody>
          <a:bodyPr/>
          <a:lstStyle>
            <a:lvl1pPr algn="just">
              <a:defRPr sz="1800">
                <a:solidFill>
                  <a:schemeClr val="tx1">
                    <a:lumMod val="65000"/>
                    <a:lumOff val="35000"/>
                  </a:schemeClr>
                </a:solidFill>
                <a:latin typeface="Trebuchet MS" pitchFamily="34" charset="0"/>
              </a:defRPr>
            </a:lvl1pPr>
          </a:lstStyle>
          <a:p>
            <a:r>
              <a:rPr lang="es-ES"/>
              <a:t>Texto párrafo subtema, escriba aquí la información relacionada con el subtema. Texto párrafo subtema, escriba aquí la información relacionada con el subtema. Texto párrafo subtema, escriba aquí la información relacionada con el subtema. Texto párrafo subtema, escriba aquí la información relacionada con el subtema.</a:t>
            </a:r>
            <a:endParaRPr lang="es-CO"/>
          </a:p>
        </p:txBody>
      </p:sp>
      <p:sp>
        <p:nvSpPr>
          <p:cNvPr id="6" name="2 Marcador de texto"/>
          <p:cNvSpPr>
            <a:spLocks noGrp="1"/>
          </p:cNvSpPr>
          <p:nvPr>
            <p:ph type="body" idx="15" hasCustomPrompt="1"/>
          </p:nvPr>
        </p:nvSpPr>
        <p:spPr>
          <a:xfrm>
            <a:off x="725355" y="1340768"/>
            <a:ext cx="10363200" cy="432048"/>
          </a:xfrm>
          <a:prstGeom prst="rect">
            <a:avLst/>
          </a:prstGeom>
        </p:spPr>
        <p:txBody>
          <a:bodyPr anchor="b"/>
          <a:lstStyle>
            <a:lvl1pPr marL="0" indent="0">
              <a:buNone/>
              <a:defRPr sz="2400" b="1" baseline="0">
                <a:solidFill>
                  <a:srgbClr val="5DBF0C"/>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Subtítulo diapositiva</a:t>
            </a:r>
          </a:p>
        </p:txBody>
      </p:sp>
      <p:sp>
        <p:nvSpPr>
          <p:cNvPr id="7" name="2 Marcador de texto"/>
          <p:cNvSpPr>
            <a:spLocks noGrp="1"/>
          </p:cNvSpPr>
          <p:nvPr>
            <p:ph type="body" idx="13" hasCustomPrompt="1"/>
          </p:nvPr>
        </p:nvSpPr>
        <p:spPr>
          <a:xfrm>
            <a:off x="719403" y="260649"/>
            <a:ext cx="10363200" cy="288032"/>
          </a:xfrm>
          <a:prstGeom prst="rect">
            <a:avLst/>
          </a:prstGeom>
        </p:spPr>
        <p:txBody>
          <a:bodyPr anchor="b"/>
          <a:lstStyle>
            <a:lvl1pPr marL="0" indent="0">
              <a:buNone/>
              <a:defRPr sz="1400" baseline="0">
                <a:solidFill>
                  <a:schemeClr val="tx1">
                    <a:tint val="75000"/>
                  </a:schemeClr>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Tema principal presentación</a:t>
            </a:r>
          </a:p>
        </p:txBody>
      </p:sp>
      <p:sp>
        <p:nvSpPr>
          <p:cNvPr id="11" name="2 Marcador de texto"/>
          <p:cNvSpPr>
            <a:spLocks noGrp="1"/>
          </p:cNvSpPr>
          <p:nvPr>
            <p:ph type="body" idx="14" hasCustomPrompt="1"/>
          </p:nvPr>
        </p:nvSpPr>
        <p:spPr>
          <a:xfrm>
            <a:off x="725355" y="548680"/>
            <a:ext cx="10363200" cy="432048"/>
          </a:xfrm>
          <a:prstGeom prst="rect">
            <a:avLst/>
          </a:prstGeom>
        </p:spPr>
        <p:txBody>
          <a:bodyPr anchor="b"/>
          <a:lstStyle>
            <a:lvl1pPr marL="0" indent="0">
              <a:buNone/>
              <a:defRPr sz="3200" b="1" baseline="0">
                <a:solidFill>
                  <a:srgbClr val="007934"/>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Título diapositiva</a:t>
            </a:r>
          </a:p>
        </p:txBody>
      </p:sp>
      <p:sp>
        <p:nvSpPr>
          <p:cNvPr id="9" name="6 Marcador de número de diapositiva"/>
          <p:cNvSpPr>
            <a:spLocks noGrp="1"/>
          </p:cNvSpPr>
          <p:nvPr>
            <p:ph type="sldNum" sz="quarter" idx="12"/>
          </p:nvPr>
        </p:nvSpPr>
        <p:spPr>
          <a:xfrm>
            <a:off x="11382451" y="6334406"/>
            <a:ext cx="809551" cy="365125"/>
          </a:xfrm>
          <a:prstGeom prst="rect">
            <a:avLst/>
          </a:prstGeom>
        </p:spPr>
        <p:txBody>
          <a:bodyPr/>
          <a:lstStyle>
            <a:lvl1pPr>
              <a:defRPr>
                <a:solidFill>
                  <a:schemeClr val="tx1">
                    <a:lumMod val="50000"/>
                    <a:lumOff val="50000"/>
                  </a:schemeClr>
                </a:solidFill>
                <a:latin typeface="Trebuchet MS" pitchFamily="34" charset="0"/>
              </a:defRPr>
            </a:lvl1pPr>
          </a:lstStyle>
          <a:p>
            <a:fld id="{6A390CAE-5A1D-442A-B9F1-736C12844423}" type="slidenum">
              <a:rPr lang="es-CO" smtClean="0"/>
              <a:pPr/>
              <a:t>‹Nº›</a:t>
            </a:fld>
            <a:endParaRPr lang="es-CO"/>
          </a:p>
        </p:txBody>
      </p:sp>
    </p:spTree>
    <p:extLst>
      <p:ext uri="{BB962C8B-B14F-4D97-AF65-F5344CB8AC3E}">
        <p14:creationId xmlns:p14="http://schemas.microsoft.com/office/powerpoint/2010/main" val="3754716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Objetos y texto">
    <p:spTree>
      <p:nvGrpSpPr>
        <p:cNvPr id="1" name=""/>
        <p:cNvGrpSpPr/>
        <p:nvPr/>
      </p:nvGrpSpPr>
      <p:grpSpPr>
        <a:xfrm>
          <a:off x="0" y="0"/>
          <a:ext cx="0" cy="0"/>
          <a:chOff x="0" y="0"/>
          <a:chExt cx="0" cy="0"/>
        </a:xfrm>
      </p:grpSpPr>
      <p:sp>
        <p:nvSpPr>
          <p:cNvPr id="3" name="2 Marcador de contenido"/>
          <p:cNvSpPr>
            <a:spLocks noGrp="1"/>
          </p:cNvSpPr>
          <p:nvPr>
            <p:ph sz="half" idx="1"/>
          </p:nvPr>
        </p:nvSpPr>
        <p:spPr>
          <a:xfrm>
            <a:off x="627359" y="1251753"/>
            <a:ext cx="5421296" cy="3000652"/>
          </a:xfrm>
          <a:prstGeom prst="rect">
            <a:avLst/>
          </a:prstGeom>
        </p:spPr>
        <p:txBody>
          <a:bodyPr lIns="121784" tIns="60891" rIns="121784" bIns="60891"/>
          <a:lstStyle>
            <a:lvl1pPr>
              <a:buNone/>
              <a:defRPr sz="1802"/>
            </a:lvl1pPr>
            <a:lvl2pPr>
              <a:defRPr sz="2403"/>
            </a:lvl2pPr>
            <a:lvl3pPr>
              <a:defRPr sz="2027"/>
            </a:lvl3pPr>
            <a:lvl4pPr>
              <a:defRPr sz="1802"/>
            </a:lvl4pPr>
            <a:lvl5pPr>
              <a:defRPr sz="1802"/>
            </a:lvl5pPr>
            <a:lvl6pPr>
              <a:defRPr sz="1802"/>
            </a:lvl6pPr>
            <a:lvl7pPr>
              <a:defRPr sz="1802"/>
            </a:lvl7pPr>
            <a:lvl8pPr>
              <a:defRPr sz="1802"/>
            </a:lvl8pPr>
            <a:lvl9pPr>
              <a:defRPr sz="1802"/>
            </a:lvl9pPr>
          </a:lstStyle>
          <a:p>
            <a:pPr lvl="0"/>
            <a:r>
              <a:rPr lang="es-ES"/>
              <a:t>Haga clic para modificar el estilo de texto del patrón</a:t>
            </a:r>
          </a:p>
        </p:txBody>
      </p:sp>
      <p:sp>
        <p:nvSpPr>
          <p:cNvPr id="4" name="3 Marcador de contenido"/>
          <p:cNvSpPr>
            <a:spLocks noGrp="1"/>
          </p:cNvSpPr>
          <p:nvPr>
            <p:ph sz="half" idx="2"/>
          </p:nvPr>
        </p:nvSpPr>
        <p:spPr>
          <a:xfrm>
            <a:off x="6155185" y="1251753"/>
            <a:ext cx="5362114" cy="3000652"/>
          </a:xfrm>
          <a:prstGeom prst="rect">
            <a:avLst/>
          </a:prstGeom>
        </p:spPr>
        <p:txBody>
          <a:bodyPr lIns="121784" tIns="60891" rIns="121784" bIns="60891"/>
          <a:lstStyle>
            <a:lvl1pPr>
              <a:buNone/>
              <a:defRPr sz="1802"/>
            </a:lvl1pPr>
            <a:lvl2pPr>
              <a:defRPr sz="2403"/>
            </a:lvl2pPr>
            <a:lvl3pPr>
              <a:defRPr sz="2027"/>
            </a:lvl3pPr>
            <a:lvl4pPr>
              <a:defRPr sz="1802"/>
            </a:lvl4pPr>
            <a:lvl5pPr>
              <a:defRPr sz="1802"/>
            </a:lvl5pPr>
            <a:lvl6pPr>
              <a:defRPr sz="1802"/>
            </a:lvl6pPr>
            <a:lvl7pPr>
              <a:defRPr sz="1802"/>
            </a:lvl7pPr>
            <a:lvl8pPr>
              <a:defRPr sz="1802"/>
            </a:lvl8pPr>
            <a:lvl9pPr>
              <a:defRPr sz="1802"/>
            </a:lvl9pPr>
          </a:lstStyle>
          <a:p>
            <a:pPr lvl="0"/>
            <a:r>
              <a:rPr lang="es-ES"/>
              <a:t>Haga clic para modificar el estilo de texto del patrón</a:t>
            </a:r>
          </a:p>
        </p:txBody>
      </p:sp>
      <p:sp>
        <p:nvSpPr>
          <p:cNvPr id="12" name="1 Título"/>
          <p:cNvSpPr>
            <a:spLocks noGrp="1"/>
          </p:cNvSpPr>
          <p:nvPr>
            <p:ph type="title"/>
          </p:nvPr>
        </p:nvSpPr>
        <p:spPr>
          <a:xfrm>
            <a:off x="609603" y="398933"/>
            <a:ext cx="8421948" cy="373433"/>
          </a:xfrm>
          <a:prstGeom prst="rect">
            <a:avLst/>
          </a:prstGeom>
        </p:spPr>
        <p:txBody>
          <a:bodyPr lIns="121784" tIns="60891" rIns="121784" bIns="60891"/>
          <a:lstStyle>
            <a:lvl1pPr algn="l">
              <a:defRPr sz="1652" b="1" i="1">
                <a:solidFill>
                  <a:schemeClr val="accent3"/>
                </a:solidFill>
              </a:defRPr>
            </a:lvl1pPr>
          </a:lstStyle>
          <a:p>
            <a:r>
              <a:rPr lang="es-ES"/>
              <a:t>Haga clic para modificar el estilo de título del patrón</a:t>
            </a:r>
            <a:endParaRPr lang="es-CO"/>
          </a:p>
        </p:txBody>
      </p:sp>
      <p:sp>
        <p:nvSpPr>
          <p:cNvPr id="8" name="12 Marcador de contenido"/>
          <p:cNvSpPr>
            <a:spLocks noGrp="1"/>
          </p:cNvSpPr>
          <p:nvPr>
            <p:ph sz="quarter" idx="15"/>
          </p:nvPr>
        </p:nvSpPr>
        <p:spPr>
          <a:xfrm>
            <a:off x="615517" y="799220"/>
            <a:ext cx="8427870" cy="266700"/>
          </a:xfrm>
          <a:prstGeom prst="rect">
            <a:avLst/>
          </a:prstGeom>
        </p:spPr>
        <p:txBody>
          <a:bodyPr lIns="121784" tIns="60891" rIns="121784" bIns="60891"/>
          <a:lstStyle>
            <a:lvl1pPr>
              <a:buNone/>
              <a:defRPr sz="1652" i="1">
                <a:solidFill>
                  <a:schemeClr val="accent6"/>
                </a:solidFill>
              </a:defRPr>
            </a:lvl1pPr>
          </a:lstStyle>
          <a:p>
            <a:pPr lvl="0"/>
            <a:r>
              <a:rPr lang="es-ES"/>
              <a:t>Haga clic para modificar el estilo de texto del patrón</a:t>
            </a:r>
          </a:p>
        </p:txBody>
      </p:sp>
      <p:sp>
        <p:nvSpPr>
          <p:cNvPr id="9" name="5 Marcador de texto"/>
          <p:cNvSpPr>
            <a:spLocks noGrp="1"/>
          </p:cNvSpPr>
          <p:nvPr>
            <p:ph type="body" sz="quarter" idx="16"/>
          </p:nvPr>
        </p:nvSpPr>
        <p:spPr>
          <a:xfrm>
            <a:off x="639195" y="4323427"/>
            <a:ext cx="5397624" cy="1597981"/>
          </a:xfrm>
          <a:prstGeom prst="rect">
            <a:avLst/>
          </a:prstGeom>
        </p:spPr>
        <p:txBody>
          <a:bodyPr lIns="121784" tIns="60891" rIns="121784" bIns="60891" anchor="ctr"/>
          <a:lstStyle>
            <a:lvl1pPr algn="l">
              <a:buFontTx/>
              <a:buBlip>
                <a:blip r:embed="rId2"/>
              </a:buBlip>
              <a:defRPr sz="1802">
                <a:solidFill>
                  <a:schemeClr val="tx1"/>
                </a:solidFill>
              </a:defRPr>
            </a:lvl1pPr>
          </a:lstStyle>
          <a:p>
            <a:pPr lvl="0"/>
            <a:r>
              <a:rPr lang="es-ES"/>
              <a:t>Haga clic para modificar el estilo de texto del patrón</a:t>
            </a:r>
          </a:p>
        </p:txBody>
      </p:sp>
      <p:sp>
        <p:nvSpPr>
          <p:cNvPr id="10" name="5 Marcador de texto"/>
          <p:cNvSpPr>
            <a:spLocks noGrp="1"/>
          </p:cNvSpPr>
          <p:nvPr>
            <p:ph type="body" sz="quarter" idx="17"/>
          </p:nvPr>
        </p:nvSpPr>
        <p:spPr>
          <a:xfrm>
            <a:off x="6131515" y="4323427"/>
            <a:ext cx="5385784" cy="1597981"/>
          </a:xfrm>
          <a:prstGeom prst="rect">
            <a:avLst/>
          </a:prstGeom>
        </p:spPr>
        <p:txBody>
          <a:bodyPr lIns="121784" tIns="60891" rIns="121784" bIns="60891" anchor="ctr"/>
          <a:lstStyle>
            <a:lvl1pPr algn="l">
              <a:buFontTx/>
              <a:buBlip>
                <a:blip r:embed="rId2"/>
              </a:buBlip>
              <a:defRPr sz="1802">
                <a:solidFill>
                  <a:schemeClr val="tx1"/>
                </a:solidFill>
              </a:defRPr>
            </a:lvl1pPr>
          </a:lstStyle>
          <a:p>
            <a:pPr lvl="0"/>
            <a:r>
              <a:rPr lang="es-ES"/>
              <a:t>Haga clic para modificar el estilo de texto del patrón</a:t>
            </a:r>
          </a:p>
        </p:txBody>
      </p:sp>
    </p:spTree>
    <p:extLst>
      <p:ext uri="{BB962C8B-B14F-4D97-AF65-F5344CB8AC3E}">
        <p14:creationId xmlns:p14="http://schemas.microsoft.com/office/powerpoint/2010/main" val="4694536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apositiva Subtítulo viñetas">
    <p:spTree>
      <p:nvGrpSpPr>
        <p:cNvPr id="1" name=""/>
        <p:cNvGrpSpPr/>
        <p:nvPr/>
      </p:nvGrpSpPr>
      <p:grpSpPr>
        <a:xfrm>
          <a:off x="0" y="0"/>
          <a:ext cx="0" cy="0"/>
          <a:chOff x="0" y="0"/>
          <a:chExt cx="0" cy="0"/>
        </a:xfrm>
      </p:grpSpPr>
      <p:sp>
        <p:nvSpPr>
          <p:cNvPr id="6" name="2 Marcador de texto"/>
          <p:cNvSpPr>
            <a:spLocks noGrp="1"/>
          </p:cNvSpPr>
          <p:nvPr>
            <p:ph type="body" idx="15" hasCustomPrompt="1"/>
          </p:nvPr>
        </p:nvSpPr>
        <p:spPr>
          <a:xfrm>
            <a:off x="725355" y="1340768"/>
            <a:ext cx="10363200" cy="432048"/>
          </a:xfrm>
          <a:prstGeom prst="rect">
            <a:avLst/>
          </a:prstGeom>
        </p:spPr>
        <p:txBody>
          <a:bodyPr anchor="b"/>
          <a:lstStyle>
            <a:lvl1pPr marL="0" indent="0">
              <a:buNone/>
              <a:defRPr sz="2400" b="1" baseline="0">
                <a:solidFill>
                  <a:srgbClr val="5DBF0C"/>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Subtítulo diapositiva</a:t>
            </a:r>
          </a:p>
        </p:txBody>
      </p:sp>
      <p:sp>
        <p:nvSpPr>
          <p:cNvPr id="7" name="2 Marcador de texto"/>
          <p:cNvSpPr>
            <a:spLocks noGrp="1"/>
          </p:cNvSpPr>
          <p:nvPr>
            <p:ph type="body" idx="13" hasCustomPrompt="1"/>
          </p:nvPr>
        </p:nvSpPr>
        <p:spPr>
          <a:xfrm>
            <a:off x="719403" y="260649"/>
            <a:ext cx="10363200" cy="288032"/>
          </a:xfrm>
          <a:prstGeom prst="rect">
            <a:avLst/>
          </a:prstGeom>
        </p:spPr>
        <p:txBody>
          <a:bodyPr anchor="b"/>
          <a:lstStyle>
            <a:lvl1pPr marL="0" indent="0">
              <a:buNone/>
              <a:defRPr sz="1400" baseline="0">
                <a:solidFill>
                  <a:schemeClr val="tx1">
                    <a:tint val="75000"/>
                  </a:schemeClr>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Tema principal presentación</a:t>
            </a:r>
          </a:p>
        </p:txBody>
      </p:sp>
      <p:sp>
        <p:nvSpPr>
          <p:cNvPr id="11" name="2 Marcador de texto"/>
          <p:cNvSpPr>
            <a:spLocks noGrp="1"/>
          </p:cNvSpPr>
          <p:nvPr>
            <p:ph type="body" idx="14" hasCustomPrompt="1"/>
          </p:nvPr>
        </p:nvSpPr>
        <p:spPr>
          <a:xfrm>
            <a:off x="725355" y="548680"/>
            <a:ext cx="10363200" cy="432048"/>
          </a:xfrm>
          <a:prstGeom prst="rect">
            <a:avLst/>
          </a:prstGeom>
        </p:spPr>
        <p:txBody>
          <a:bodyPr anchor="b"/>
          <a:lstStyle>
            <a:lvl1pPr marL="0" indent="0">
              <a:buNone/>
              <a:defRPr sz="3200" b="1" baseline="0">
                <a:solidFill>
                  <a:srgbClr val="007934"/>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Título diapositiva</a:t>
            </a:r>
          </a:p>
        </p:txBody>
      </p:sp>
      <p:sp>
        <p:nvSpPr>
          <p:cNvPr id="9" name="6 Marcador de número de diapositiva"/>
          <p:cNvSpPr>
            <a:spLocks noGrp="1"/>
          </p:cNvSpPr>
          <p:nvPr>
            <p:ph type="sldNum" sz="quarter" idx="12"/>
          </p:nvPr>
        </p:nvSpPr>
        <p:spPr>
          <a:xfrm>
            <a:off x="11382451" y="6334406"/>
            <a:ext cx="809551" cy="365125"/>
          </a:xfrm>
          <a:prstGeom prst="rect">
            <a:avLst/>
          </a:prstGeom>
        </p:spPr>
        <p:txBody>
          <a:bodyPr/>
          <a:lstStyle>
            <a:lvl1pPr>
              <a:defRPr>
                <a:solidFill>
                  <a:schemeClr val="tx1">
                    <a:lumMod val="50000"/>
                    <a:lumOff val="50000"/>
                  </a:schemeClr>
                </a:solidFill>
                <a:latin typeface="Trebuchet MS" pitchFamily="34" charset="0"/>
              </a:defRPr>
            </a:lvl1pPr>
          </a:lstStyle>
          <a:p>
            <a:fld id="{6A390CAE-5A1D-442A-B9F1-736C12844423}" type="slidenum">
              <a:rPr lang="es-CO" smtClean="0"/>
              <a:pPr/>
              <a:t>‹Nº›</a:t>
            </a:fld>
            <a:endParaRPr lang="es-CO"/>
          </a:p>
        </p:txBody>
      </p:sp>
      <p:sp>
        <p:nvSpPr>
          <p:cNvPr id="12" name="11 Marcador de texto"/>
          <p:cNvSpPr>
            <a:spLocks noGrp="1"/>
          </p:cNvSpPr>
          <p:nvPr>
            <p:ph type="body" sz="quarter" idx="16" hasCustomPrompt="1"/>
          </p:nvPr>
        </p:nvSpPr>
        <p:spPr>
          <a:xfrm>
            <a:off x="711200" y="2009775"/>
            <a:ext cx="5867400" cy="3819525"/>
          </a:xfrm>
          <a:prstGeom prst="rect">
            <a:avLst/>
          </a:prstGeom>
        </p:spPr>
        <p:txBody>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Char char="•"/>
              <a:tabLst/>
              <a:defRPr sz="2400">
                <a:solidFill>
                  <a:schemeClr val="tx1">
                    <a:lumMod val="75000"/>
                    <a:lumOff val="25000"/>
                  </a:schemeClr>
                </a:solidFill>
                <a:latin typeface="+mn-lt"/>
              </a:defRPr>
            </a:lvl1pPr>
          </a:lstStyle>
          <a:p>
            <a:pPr lvl="0"/>
            <a:r>
              <a:rPr lang="es-ES"/>
              <a:t>Texto en viñetas</a:t>
            </a:r>
            <a:endParaRPr lang="es-CO"/>
          </a:p>
          <a:p>
            <a:pPr lvl="0"/>
            <a:r>
              <a:rPr lang="es-ES"/>
              <a:t>Texto en viñetas</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s-ES"/>
              <a:t>Texto en viñetas</a:t>
            </a:r>
            <a:endParaRPr lang="es-CO"/>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s-ES"/>
              <a:t>Texto en viñetas</a:t>
            </a:r>
            <a:endParaRPr lang="es-CO"/>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s-ES"/>
              <a:t>Texto en viñetas</a:t>
            </a:r>
            <a:endParaRPr lang="es-CO"/>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s-ES"/>
              <a:t>Texto en viñetas</a:t>
            </a:r>
            <a:endParaRPr lang="es-CO"/>
          </a:p>
        </p:txBody>
      </p:sp>
    </p:spTree>
    <p:extLst>
      <p:ext uri="{BB962C8B-B14F-4D97-AF65-F5344CB8AC3E}">
        <p14:creationId xmlns:p14="http://schemas.microsoft.com/office/powerpoint/2010/main" val="249239073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4" name="1 Título"/>
          <p:cNvSpPr>
            <a:spLocks noGrp="1"/>
          </p:cNvSpPr>
          <p:nvPr>
            <p:ph type="title" hasCustomPrompt="1"/>
          </p:nvPr>
        </p:nvSpPr>
        <p:spPr>
          <a:xfrm>
            <a:off x="623392" y="332656"/>
            <a:ext cx="10094912" cy="792088"/>
          </a:xfrm>
          <a:prstGeom prst="rect">
            <a:avLst/>
          </a:prstGeom>
        </p:spPr>
        <p:txBody>
          <a:bodyPr>
            <a:normAutofit/>
          </a:bodyPr>
          <a:lstStyle>
            <a:lvl1pPr algn="l">
              <a:defRPr sz="2800" b="1" baseline="0">
                <a:solidFill>
                  <a:srgbClr val="007934"/>
                </a:solidFill>
                <a:latin typeface="Trebuchet MS" pitchFamily="34" charset="0"/>
              </a:defRPr>
            </a:lvl1pPr>
          </a:lstStyle>
          <a:p>
            <a:r>
              <a:rPr lang="es-ES"/>
              <a:t>Contacto</a:t>
            </a:r>
            <a:endParaRPr lang="es-CO"/>
          </a:p>
        </p:txBody>
      </p:sp>
      <p:sp>
        <p:nvSpPr>
          <p:cNvPr id="5" name="2 Marcador de contenido"/>
          <p:cNvSpPr>
            <a:spLocks noGrp="1"/>
          </p:cNvSpPr>
          <p:nvPr>
            <p:ph idx="1" hasCustomPrompt="1"/>
          </p:nvPr>
        </p:nvSpPr>
        <p:spPr>
          <a:xfrm>
            <a:off x="609600" y="1463041"/>
            <a:ext cx="10574965" cy="4126201"/>
          </a:xfrm>
          <a:prstGeom prst="rect">
            <a:avLst/>
          </a:prstGeom>
        </p:spPr>
        <p:txBody>
          <a:bodyPr>
            <a:normAutofit/>
          </a:bodyPr>
          <a:lstStyle>
            <a:lvl1pPr>
              <a:buFont typeface="Courier New" pitchFamily="49" charset="0"/>
              <a:buChar char="o"/>
              <a:defRPr sz="2000" b="1" baseline="0">
                <a:solidFill>
                  <a:schemeClr val="tx1">
                    <a:lumMod val="65000"/>
                    <a:lumOff val="35000"/>
                  </a:schemeClr>
                </a:solidFill>
                <a:latin typeface="Trebuchet MS" pitchFamily="34" charset="0"/>
              </a:defRPr>
            </a:lvl1pPr>
            <a:lvl2pPr>
              <a:buFont typeface="Arial" pitchFamily="34" charset="0"/>
              <a:buChar char="•"/>
              <a:defRPr sz="1600" baseline="0">
                <a:solidFill>
                  <a:schemeClr val="tx1">
                    <a:lumMod val="50000"/>
                    <a:lumOff val="50000"/>
                  </a:schemeClr>
                </a:solidFill>
                <a:latin typeface="Trebuchet MS" pitchFamily="34" charset="0"/>
              </a:defRPr>
            </a:lvl2pPr>
          </a:lstStyle>
          <a:p>
            <a:pPr lvl="0"/>
            <a:r>
              <a:rPr lang="es-ES"/>
              <a:t>Nombre expositor</a:t>
            </a:r>
          </a:p>
          <a:p>
            <a:pPr marL="719138" lvl="1" indent="0">
              <a:lnSpc>
                <a:spcPct val="150000"/>
              </a:lnSpc>
              <a:buNone/>
            </a:pPr>
            <a:r>
              <a:rPr lang="es-CO"/>
              <a:t>correoexpositor@epm.com.co</a:t>
            </a:r>
            <a:br>
              <a:rPr lang="es-CO"/>
            </a:br>
            <a:r>
              <a:rPr lang="es-CO"/>
              <a:t>Teléfono: +57-4 380 8080 </a:t>
            </a:r>
            <a:br>
              <a:rPr lang="es-CO"/>
            </a:br>
            <a:r>
              <a:rPr lang="es-CO"/>
              <a:t>Móvil: 300 123 4567</a:t>
            </a:r>
          </a:p>
          <a:p>
            <a:pPr marL="719138" lvl="1" indent="0">
              <a:lnSpc>
                <a:spcPct val="150000"/>
              </a:lnSpc>
              <a:buNone/>
            </a:pPr>
            <a:r>
              <a:rPr lang="es-CO"/>
              <a:t>Fax: +57-4 265 9350 </a:t>
            </a:r>
            <a:endParaRPr lang="es-ES"/>
          </a:p>
        </p:txBody>
      </p:sp>
      <p:sp>
        <p:nvSpPr>
          <p:cNvPr id="6" name="1 Título"/>
          <p:cNvSpPr txBox="1">
            <a:spLocks/>
          </p:cNvSpPr>
          <p:nvPr userDrawn="1"/>
        </p:nvSpPr>
        <p:spPr>
          <a:xfrm>
            <a:off x="623392" y="1340768"/>
            <a:ext cx="10094912" cy="504056"/>
          </a:xfrm>
          <a:prstGeom prst="rect">
            <a:avLst/>
          </a:prstGeom>
        </p:spPr>
        <p:txBody>
          <a:bodyPr>
            <a:normAutofit/>
          </a:bodyPr>
          <a:lstStyle>
            <a:lvl1pPr algn="l">
              <a:defRPr sz="2800" b="1">
                <a:solidFill>
                  <a:srgbClr val="007934"/>
                </a:solidFill>
                <a:latin typeface="Trebuchet MS"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s-CO" sz="2400" b="1" i="0" u="none" strike="noStrike" kern="1200" cap="none" spc="0" normalizeH="0" baseline="0" noProof="0">
              <a:ln>
                <a:noFill/>
              </a:ln>
              <a:solidFill>
                <a:srgbClr val="5DBF0C"/>
              </a:solidFill>
              <a:effectLst/>
              <a:uLnTx/>
              <a:uFillTx/>
              <a:latin typeface="Trebuchet MS" pitchFamily="34" charset="0"/>
              <a:ea typeface="+mj-ea"/>
              <a:cs typeface="+mj-cs"/>
            </a:endParaRPr>
          </a:p>
        </p:txBody>
      </p:sp>
      <p:sp>
        <p:nvSpPr>
          <p:cNvPr id="7" name="6 Marcador de número de diapositiva"/>
          <p:cNvSpPr>
            <a:spLocks noGrp="1"/>
          </p:cNvSpPr>
          <p:nvPr>
            <p:ph type="sldNum" sz="quarter" idx="12"/>
          </p:nvPr>
        </p:nvSpPr>
        <p:spPr>
          <a:xfrm>
            <a:off x="11382451" y="6334406"/>
            <a:ext cx="809551" cy="365125"/>
          </a:xfrm>
          <a:prstGeom prst="rect">
            <a:avLst/>
          </a:prstGeom>
        </p:spPr>
        <p:txBody>
          <a:bodyPr/>
          <a:lstStyle>
            <a:lvl1pPr>
              <a:defRPr>
                <a:solidFill>
                  <a:schemeClr val="tx1">
                    <a:lumMod val="50000"/>
                    <a:lumOff val="50000"/>
                  </a:schemeClr>
                </a:solidFill>
                <a:latin typeface="Trebuchet MS" pitchFamily="34" charset="0"/>
              </a:defRPr>
            </a:lvl1pPr>
          </a:lstStyle>
          <a:p>
            <a:fld id="{6A390CAE-5A1D-442A-B9F1-736C12844423}" type="slidenum">
              <a:rPr lang="es-CO" smtClean="0"/>
              <a:pPr/>
              <a:t>‹Nº›</a:t>
            </a:fld>
            <a:endParaRPr lang="es-CO"/>
          </a:p>
        </p:txBody>
      </p:sp>
    </p:spTree>
    <p:extLst>
      <p:ext uri="{BB962C8B-B14F-4D97-AF65-F5344CB8AC3E}">
        <p14:creationId xmlns:p14="http://schemas.microsoft.com/office/powerpoint/2010/main" val="19533807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4" name="1 Título"/>
          <p:cNvSpPr>
            <a:spLocks noGrp="1"/>
          </p:cNvSpPr>
          <p:nvPr>
            <p:ph type="title" hasCustomPrompt="1"/>
          </p:nvPr>
        </p:nvSpPr>
        <p:spPr>
          <a:xfrm>
            <a:off x="623392" y="332656"/>
            <a:ext cx="10094912" cy="792088"/>
          </a:xfrm>
          <a:prstGeom prst="rect">
            <a:avLst/>
          </a:prstGeom>
        </p:spPr>
        <p:txBody>
          <a:bodyPr>
            <a:normAutofit/>
          </a:bodyPr>
          <a:lstStyle>
            <a:lvl1pPr algn="l">
              <a:defRPr sz="2800" b="1" baseline="0">
                <a:solidFill>
                  <a:srgbClr val="007934"/>
                </a:solidFill>
                <a:latin typeface="Trebuchet MS" pitchFamily="34" charset="0"/>
              </a:defRPr>
            </a:lvl1pPr>
          </a:lstStyle>
          <a:p>
            <a:r>
              <a:rPr lang="es-ES"/>
              <a:t>Bibliografía / </a:t>
            </a:r>
            <a:r>
              <a:rPr lang="es-ES" err="1"/>
              <a:t>cibergrafía</a:t>
            </a:r>
            <a:r>
              <a:rPr lang="es-ES"/>
              <a:t> / créditos</a:t>
            </a:r>
            <a:endParaRPr lang="es-CO"/>
          </a:p>
        </p:txBody>
      </p:sp>
      <p:sp>
        <p:nvSpPr>
          <p:cNvPr id="5" name="2 Marcador de contenido"/>
          <p:cNvSpPr>
            <a:spLocks noGrp="1"/>
          </p:cNvSpPr>
          <p:nvPr>
            <p:ph idx="1" hasCustomPrompt="1"/>
          </p:nvPr>
        </p:nvSpPr>
        <p:spPr>
          <a:xfrm>
            <a:off x="609600" y="1463041"/>
            <a:ext cx="10574965" cy="4126201"/>
          </a:xfrm>
          <a:prstGeom prst="rect">
            <a:avLst/>
          </a:prstGeom>
        </p:spPr>
        <p:txBody>
          <a:bodyPr>
            <a:normAutofit/>
          </a:bodyPr>
          <a:lstStyle>
            <a:lvl1pPr>
              <a:buFont typeface="Courier New" pitchFamily="49" charset="0"/>
              <a:buChar char="o"/>
              <a:defRPr sz="2000" b="1" baseline="0">
                <a:solidFill>
                  <a:schemeClr val="tx1">
                    <a:lumMod val="65000"/>
                    <a:lumOff val="35000"/>
                  </a:schemeClr>
                </a:solidFill>
                <a:latin typeface="Trebuchet MS" pitchFamily="34" charset="0"/>
              </a:defRPr>
            </a:lvl1pPr>
            <a:lvl2pPr>
              <a:buFont typeface="Arial" pitchFamily="34" charset="0"/>
              <a:buChar char="•"/>
              <a:defRPr sz="1600" baseline="0">
                <a:solidFill>
                  <a:schemeClr val="tx1">
                    <a:lumMod val="50000"/>
                    <a:lumOff val="50000"/>
                  </a:schemeClr>
                </a:solidFill>
                <a:latin typeface="Trebuchet MS" pitchFamily="34" charset="0"/>
              </a:defRPr>
            </a:lvl2pPr>
          </a:lstStyle>
          <a:p>
            <a:pPr lvl="0"/>
            <a:r>
              <a:rPr lang="es-ES"/>
              <a:t>Nombre libro</a:t>
            </a:r>
          </a:p>
          <a:p>
            <a:pPr lvl="1"/>
            <a:r>
              <a:rPr lang="es-ES"/>
              <a:t>Autor / Edición  / página / </a:t>
            </a:r>
          </a:p>
          <a:p>
            <a:pPr lvl="0"/>
            <a:r>
              <a:rPr lang="es-ES"/>
              <a:t>Nombre sitio web</a:t>
            </a:r>
          </a:p>
          <a:p>
            <a:pPr lvl="1"/>
            <a:r>
              <a:rPr lang="es-ES"/>
              <a:t>Enlace / fecha</a:t>
            </a:r>
          </a:p>
          <a:p>
            <a:pPr lvl="0"/>
            <a:r>
              <a:rPr lang="es-ES"/>
              <a:t>Colaboradores</a:t>
            </a:r>
          </a:p>
          <a:p>
            <a:pPr lvl="1"/>
            <a:r>
              <a:rPr lang="es-CO"/>
              <a:t>Nombre colaborador</a:t>
            </a:r>
          </a:p>
        </p:txBody>
      </p:sp>
      <p:sp>
        <p:nvSpPr>
          <p:cNvPr id="6" name="1 Título"/>
          <p:cNvSpPr txBox="1">
            <a:spLocks/>
          </p:cNvSpPr>
          <p:nvPr userDrawn="1"/>
        </p:nvSpPr>
        <p:spPr>
          <a:xfrm>
            <a:off x="623392" y="1340768"/>
            <a:ext cx="10094912" cy="504056"/>
          </a:xfrm>
          <a:prstGeom prst="rect">
            <a:avLst/>
          </a:prstGeom>
        </p:spPr>
        <p:txBody>
          <a:bodyPr>
            <a:normAutofit/>
          </a:bodyPr>
          <a:lstStyle>
            <a:lvl1pPr algn="l">
              <a:defRPr sz="2800" b="1">
                <a:solidFill>
                  <a:srgbClr val="007934"/>
                </a:solidFill>
                <a:latin typeface="Trebuchet MS"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s-CO" sz="2400" b="1" i="0" u="none" strike="noStrike" kern="1200" cap="none" spc="0" normalizeH="0" baseline="0" noProof="0">
              <a:ln>
                <a:noFill/>
              </a:ln>
              <a:solidFill>
                <a:srgbClr val="5DBF0C"/>
              </a:solidFill>
              <a:effectLst/>
              <a:uLnTx/>
              <a:uFillTx/>
              <a:latin typeface="Trebuchet MS" pitchFamily="34" charset="0"/>
              <a:ea typeface="+mj-ea"/>
              <a:cs typeface="+mj-cs"/>
            </a:endParaRPr>
          </a:p>
        </p:txBody>
      </p:sp>
      <p:sp>
        <p:nvSpPr>
          <p:cNvPr id="7" name="6 Marcador de número de diapositiva"/>
          <p:cNvSpPr>
            <a:spLocks noGrp="1"/>
          </p:cNvSpPr>
          <p:nvPr>
            <p:ph type="sldNum" sz="quarter" idx="12"/>
          </p:nvPr>
        </p:nvSpPr>
        <p:spPr>
          <a:xfrm>
            <a:off x="11382451" y="6334406"/>
            <a:ext cx="809551" cy="365125"/>
          </a:xfrm>
          <a:prstGeom prst="rect">
            <a:avLst/>
          </a:prstGeom>
        </p:spPr>
        <p:txBody>
          <a:bodyPr/>
          <a:lstStyle>
            <a:lvl1pPr>
              <a:defRPr>
                <a:solidFill>
                  <a:schemeClr val="tx1">
                    <a:lumMod val="50000"/>
                    <a:lumOff val="50000"/>
                  </a:schemeClr>
                </a:solidFill>
                <a:latin typeface="Trebuchet MS" pitchFamily="34" charset="0"/>
              </a:defRPr>
            </a:lvl1pPr>
          </a:lstStyle>
          <a:p>
            <a:fld id="{6A390CAE-5A1D-442A-B9F1-736C12844423}" type="slidenum">
              <a:rPr lang="es-CO" smtClean="0"/>
              <a:pPr/>
              <a:t>‹Nº›</a:t>
            </a:fld>
            <a:endParaRPr lang="es-CO"/>
          </a:p>
        </p:txBody>
      </p:sp>
    </p:spTree>
    <p:extLst>
      <p:ext uri="{BB962C8B-B14F-4D97-AF65-F5344CB8AC3E}">
        <p14:creationId xmlns:p14="http://schemas.microsoft.com/office/powerpoint/2010/main" val="365220240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apositiva agradecimiento">
    <p:spTree>
      <p:nvGrpSpPr>
        <p:cNvPr id="1" name=""/>
        <p:cNvGrpSpPr/>
        <p:nvPr/>
      </p:nvGrpSpPr>
      <p:grpSpPr>
        <a:xfrm>
          <a:off x="0" y="0"/>
          <a:ext cx="0" cy="0"/>
          <a:chOff x="0" y="0"/>
          <a:chExt cx="0" cy="0"/>
        </a:xfrm>
      </p:grpSpPr>
      <p:pic>
        <p:nvPicPr>
          <p:cNvPr id="3" name="2 Imagen"/>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42828736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pic>
        <p:nvPicPr>
          <p:cNvPr id="3" name="Imagen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0658021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Diapositiva agradecimiento">
    <p:spTree>
      <p:nvGrpSpPr>
        <p:cNvPr id="1" name=""/>
        <p:cNvGrpSpPr/>
        <p:nvPr/>
      </p:nvGrpSpPr>
      <p:grpSpPr>
        <a:xfrm>
          <a:off x="0" y="0"/>
          <a:ext cx="0" cy="0"/>
          <a:chOff x="0" y="0"/>
          <a:chExt cx="0" cy="0"/>
        </a:xfrm>
      </p:grpSpPr>
      <p:pic>
        <p:nvPicPr>
          <p:cNvPr id="3" name="2 Imagen" descr="08_Agradecimiento.jpg"/>
          <p:cNvPicPr>
            <a:picLocks noChangeAspect="1"/>
          </p:cNvPicPr>
          <p:nvPr userDrawn="1"/>
        </p:nvPicPr>
        <p:blipFill>
          <a:blip r:embed="rId2" cstate="print"/>
          <a:stretch>
            <a:fillRect/>
          </a:stretch>
        </p:blipFill>
        <p:spPr>
          <a:xfrm>
            <a:off x="0" y="0"/>
            <a:ext cx="12192000" cy="6858000"/>
          </a:xfrm>
          <a:prstGeom prst="rect">
            <a:avLst/>
          </a:prstGeom>
        </p:spPr>
      </p:pic>
    </p:spTree>
    <p:extLst>
      <p:ext uri="{BB962C8B-B14F-4D97-AF65-F5344CB8AC3E}">
        <p14:creationId xmlns:p14="http://schemas.microsoft.com/office/powerpoint/2010/main" val="18855948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Diapositiva inicial">
    <p:spTree>
      <p:nvGrpSpPr>
        <p:cNvPr id="1" name=""/>
        <p:cNvGrpSpPr/>
        <p:nvPr/>
      </p:nvGrpSpPr>
      <p:grpSpPr>
        <a:xfrm>
          <a:off x="0" y="0"/>
          <a:ext cx="0" cy="0"/>
          <a:chOff x="0" y="0"/>
          <a:chExt cx="0" cy="0"/>
        </a:xfrm>
      </p:grpSpPr>
      <p:pic>
        <p:nvPicPr>
          <p:cNvPr id="7" name="6 Imagen" descr="PlantillaInicialPresentacion.jpg"/>
          <p:cNvPicPr>
            <a:picLocks noChangeAspect="1"/>
          </p:cNvPicPr>
          <p:nvPr userDrawn="1"/>
        </p:nvPicPr>
        <p:blipFill>
          <a:blip r:embed="rId2" cstate="print"/>
          <a:stretch>
            <a:fillRect/>
          </a:stretch>
        </p:blipFill>
        <p:spPr>
          <a:xfrm>
            <a:off x="0" y="0"/>
            <a:ext cx="12192000" cy="6858000"/>
          </a:xfrm>
          <a:prstGeom prst="rect">
            <a:avLst/>
          </a:prstGeom>
        </p:spPr>
      </p:pic>
    </p:spTree>
    <p:extLst>
      <p:ext uri="{BB962C8B-B14F-4D97-AF65-F5344CB8AC3E}">
        <p14:creationId xmlns:p14="http://schemas.microsoft.com/office/powerpoint/2010/main" val="25149389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Diapositiva título - subtítulo">
    <p:spTree>
      <p:nvGrpSpPr>
        <p:cNvPr id="1" name=""/>
        <p:cNvGrpSpPr/>
        <p:nvPr/>
      </p:nvGrpSpPr>
      <p:grpSpPr>
        <a:xfrm>
          <a:off x="0" y="0"/>
          <a:ext cx="0" cy="0"/>
          <a:chOff x="0" y="0"/>
          <a:chExt cx="0" cy="0"/>
        </a:xfrm>
      </p:grpSpPr>
      <p:pic>
        <p:nvPicPr>
          <p:cNvPr id="8" name="7 Imagen" descr="04_Plantilla_contenidos.jpg"/>
          <p:cNvPicPr>
            <a:picLocks noChangeAspect="1"/>
          </p:cNvPicPr>
          <p:nvPr userDrawn="1"/>
        </p:nvPicPr>
        <p:blipFill>
          <a:blip r:embed="rId2" cstate="print"/>
          <a:stretch>
            <a:fillRect/>
          </a:stretch>
        </p:blipFill>
        <p:spPr>
          <a:xfrm>
            <a:off x="0" y="0"/>
            <a:ext cx="12192000" cy="6858000"/>
          </a:xfrm>
          <a:prstGeom prst="rect">
            <a:avLst/>
          </a:prstGeom>
        </p:spPr>
      </p:pic>
      <p:sp>
        <p:nvSpPr>
          <p:cNvPr id="2" name="1 Título"/>
          <p:cNvSpPr>
            <a:spLocks noGrp="1"/>
          </p:cNvSpPr>
          <p:nvPr>
            <p:ph type="title" hasCustomPrompt="1"/>
          </p:nvPr>
        </p:nvSpPr>
        <p:spPr>
          <a:xfrm>
            <a:off x="719403" y="1844824"/>
            <a:ext cx="5088565" cy="3384376"/>
          </a:xfrm>
          <a:prstGeom prst="rect">
            <a:avLst/>
          </a:prstGeom>
        </p:spPr>
        <p:txBody>
          <a:bodyPr/>
          <a:lstStyle>
            <a:lvl1pPr algn="just">
              <a:defRPr sz="1800">
                <a:solidFill>
                  <a:schemeClr val="tx1">
                    <a:lumMod val="65000"/>
                    <a:lumOff val="35000"/>
                  </a:schemeClr>
                </a:solidFill>
                <a:latin typeface="Trebuchet MS" pitchFamily="34" charset="0"/>
              </a:defRPr>
            </a:lvl1pPr>
          </a:lstStyle>
          <a:p>
            <a:r>
              <a:rPr lang="es-ES"/>
              <a:t>Texto párrafo subtema, escriba aquí la información relacionada con el subtema. Texto párrafo subtema, escriba aquí la información relacionada con el subtema. Texto párrafo subtema, escriba aquí la información relacionada con el subtema. Texto párrafo subtema, escriba aquí la información relacionada con el subtema.</a:t>
            </a:r>
            <a:endParaRPr lang="es-CO"/>
          </a:p>
        </p:txBody>
      </p:sp>
      <p:sp>
        <p:nvSpPr>
          <p:cNvPr id="6" name="2 Marcador de texto"/>
          <p:cNvSpPr>
            <a:spLocks noGrp="1"/>
          </p:cNvSpPr>
          <p:nvPr>
            <p:ph type="body" idx="15" hasCustomPrompt="1"/>
          </p:nvPr>
        </p:nvSpPr>
        <p:spPr>
          <a:xfrm>
            <a:off x="725355" y="1340768"/>
            <a:ext cx="10363200" cy="432048"/>
          </a:xfrm>
          <a:prstGeom prst="rect">
            <a:avLst/>
          </a:prstGeom>
        </p:spPr>
        <p:txBody>
          <a:bodyPr anchor="b"/>
          <a:lstStyle>
            <a:lvl1pPr marL="0" indent="0">
              <a:buNone/>
              <a:defRPr sz="2400" b="1" baseline="0">
                <a:solidFill>
                  <a:srgbClr val="5DBF0C"/>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Subtítulo diapositiva</a:t>
            </a:r>
          </a:p>
        </p:txBody>
      </p:sp>
      <p:sp>
        <p:nvSpPr>
          <p:cNvPr id="7" name="2 Marcador de texto"/>
          <p:cNvSpPr>
            <a:spLocks noGrp="1"/>
          </p:cNvSpPr>
          <p:nvPr>
            <p:ph type="body" idx="13" hasCustomPrompt="1"/>
          </p:nvPr>
        </p:nvSpPr>
        <p:spPr>
          <a:xfrm>
            <a:off x="719403" y="260649"/>
            <a:ext cx="10363200" cy="288032"/>
          </a:xfrm>
          <a:prstGeom prst="rect">
            <a:avLst/>
          </a:prstGeom>
        </p:spPr>
        <p:txBody>
          <a:bodyPr anchor="b"/>
          <a:lstStyle>
            <a:lvl1pPr marL="0" indent="0">
              <a:buNone/>
              <a:defRPr sz="1400" baseline="0">
                <a:solidFill>
                  <a:schemeClr val="tx1">
                    <a:tint val="75000"/>
                  </a:schemeClr>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Tema principal presentación</a:t>
            </a:r>
          </a:p>
        </p:txBody>
      </p:sp>
      <p:sp>
        <p:nvSpPr>
          <p:cNvPr id="11" name="2 Marcador de texto"/>
          <p:cNvSpPr>
            <a:spLocks noGrp="1"/>
          </p:cNvSpPr>
          <p:nvPr>
            <p:ph type="body" idx="14" hasCustomPrompt="1"/>
          </p:nvPr>
        </p:nvSpPr>
        <p:spPr>
          <a:xfrm>
            <a:off x="725355" y="548680"/>
            <a:ext cx="10363200" cy="432048"/>
          </a:xfrm>
          <a:prstGeom prst="rect">
            <a:avLst/>
          </a:prstGeom>
        </p:spPr>
        <p:txBody>
          <a:bodyPr anchor="b"/>
          <a:lstStyle>
            <a:lvl1pPr marL="0" indent="0">
              <a:buNone/>
              <a:defRPr sz="3200" b="1" baseline="0">
                <a:solidFill>
                  <a:srgbClr val="007934"/>
                </a:solidFill>
                <a:latin typeface="Trebuchet MS"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Título diapositiva</a:t>
            </a:r>
          </a:p>
        </p:txBody>
      </p:sp>
      <p:sp>
        <p:nvSpPr>
          <p:cNvPr id="9" name="6 Marcador de número de diapositiva"/>
          <p:cNvSpPr>
            <a:spLocks noGrp="1"/>
          </p:cNvSpPr>
          <p:nvPr>
            <p:ph type="sldNum" sz="quarter" idx="12"/>
          </p:nvPr>
        </p:nvSpPr>
        <p:spPr>
          <a:xfrm>
            <a:off x="11382451" y="6334406"/>
            <a:ext cx="809551" cy="365125"/>
          </a:xfrm>
          <a:prstGeom prst="rect">
            <a:avLst/>
          </a:prstGeom>
        </p:spPr>
        <p:txBody>
          <a:bodyPr/>
          <a:lstStyle>
            <a:lvl1pPr>
              <a:defRPr>
                <a:solidFill>
                  <a:schemeClr val="tx1">
                    <a:lumMod val="50000"/>
                    <a:lumOff val="50000"/>
                  </a:schemeClr>
                </a:solidFill>
                <a:latin typeface="Trebuchet MS" pitchFamily="34" charset="0"/>
              </a:defRPr>
            </a:lvl1pPr>
          </a:lstStyle>
          <a:p>
            <a:fld id="{6A390CAE-5A1D-442A-B9F1-736C12844423}" type="slidenum">
              <a:rPr lang="es-CO" smtClean="0"/>
              <a:pPr/>
              <a:t>‹Nº›</a:t>
            </a:fld>
            <a:endParaRPr lang="es-CO"/>
          </a:p>
        </p:txBody>
      </p:sp>
    </p:spTree>
    <p:extLst>
      <p:ext uri="{BB962C8B-B14F-4D97-AF65-F5344CB8AC3E}">
        <p14:creationId xmlns:p14="http://schemas.microsoft.com/office/powerpoint/2010/main" val="348823341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_Diseño personalizado">
    <p:spTree>
      <p:nvGrpSpPr>
        <p:cNvPr id="1" name=""/>
        <p:cNvGrpSpPr/>
        <p:nvPr/>
      </p:nvGrpSpPr>
      <p:grpSpPr>
        <a:xfrm>
          <a:off x="0" y="0"/>
          <a:ext cx="0" cy="0"/>
          <a:chOff x="0" y="0"/>
          <a:chExt cx="0" cy="0"/>
        </a:xfrm>
      </p:grpSpPr>
      <p:pic>
        <p:nvPicPr>
          <p:cNvPr id="8" name="7 Imagen" descr="04_Plantilla_contenidos.jpg"/>
          <p:cNvPicPr>
            <a:picLocks noChangeAspect="1"/>
          </p:cNvPicPr>
          <p:nvPr userDrawn="1"/>
        </p:nvPicPr>
        <p:blipFill>
          <a:blip r:embed="rId2" cstate="print"/>
          <a:stretch>
            <a:fillRect/>
          </a:stretch>
        </p:blipFill>
        <p:spPr>
          <a:xfrm>
            <a:off x="0" y="0"/>
            <a:ext cx="12192000" cy="6858000"/>
          </a:xfrm>
          <a:prstGeom prst="rect">
            <a:avLst/>
          </a:prstGeom>
        </p:spPr>
      </p:pic>
      <p:sp>
        <p:nvSpPr>
          <p:cNvPr id="4" name="1 Título"/>
          <p:cNvSpPr>
            <a:spLocks noGrp="1"/>
          </p:cNvSpPr>
          <p:nvPr>
            <p:ph type="title" hasCustomPrompt="1"/>
          </p:nvPr>
        </p:nvSpPr>
        <p:spPr>
          <a:xfrm>
            <a:off x="623392" y="332656"/>
            <a:ext cx="10094912" cy="792088"/>
          </a:xfrm>
          <a:prstGeom prst="rect">
            <a:avLst/>
          </a:prstGeom>
        </p:spPr>
        <p:txBody>
          <a:bodyPr>
            <a:normAutofit/>
          </a:bodyPr>
          <a:lstStyle>
            <a:lvl1pPr algn="l">
              <a:defRPr sz="2800" b="1" baseline="0">
                <a:solidFill>
                  <a:srgbClr val="007934"/>
                </a:solidFill>
                <a:latin typeface="Trebuchet MS" pitchFamily="34" charset="0"/>
              </a:defRPr>
            </a:lvl1pPr>
          </a:lstStyle>
          <a:p>
            <a:r>
              <a:rPr lang="es-ES"/>
              <a:t>Contacto</a:t>
            </a:r>
            <a:endParaRPr lang="es-CO"/>
          </a:p>
        </p:txBody>
      </p:sp>
      <p:sp>
        <p:nvSpPr>
          <p:cNvPr id="5" name="2 Marcador de contenido"/>
          <p:cNvSpPr>
            <a:spLocks noGrp="1"/>
          </p:cNvSpPr>
          <p:nvPr>
            <p:ph idx="1" hasCustomPrompt="1"/>
          </p:nvPr>
        </p:nvSpPr>
        <p:spPr>
          <a:xfrm>
            <a:off x="609600" y="1463041"/>
            <a:ext cx="10574965" cy="4126201"/>
          </a:xfrm>
          <a:prstGeom prst="rect">
            <a:avLst/>
          </a:prstGeom>
        </p:spPr>
        <p:txBody>
          <a:bodyPr>
            <a:normAutofit/>
          </a:bodyPr>
          <a:lstStyle>
            <a:lvl1pPr>
              <a:buFont typeface="Courier New" pitchFamily="49" charset="0"/>
              <a:buChar char="o"/>
              <a:defRPr sz="2000" b="1" baseline="0">
                <a:solidFill>
                  <a:schemeClr val="tx1">
                    <a:lumMod val="65000"/>
                    <a:lumOff val="35000"/>
                  </a:schemeClr>
                </a:solidFill>
                <a:latin typeface="Trebuchet MS" pitchFamily="34" charset="0"/>
              </a:defRPr>
            </a:lvl1pPr>
            <a:lvl2pPr>
              <a:buFont typeface="Arial" pitchFamily="34" charset="0"/>
              <a:buChar char="•"/>
              <a:defRPr sz="1600" baseline="0">
                <a:solidFill>
                  <a:schemeClr val="tx1">
                    <a:lumMod val="50000"/>
                    <a:lumOff val="50000"/>
                  </a:schemeClr>
                </a:solidFill>
                <a:latin typeface="Trebuchet MS" pitchFamily="34" charset="0"/>
              </a:defRPr>
            </a:lvl2pPr>
          </a:lstStyle>
          <a:p>
            <a:pPr lvl="0"/>
            <a:r>
              <a:rPr lang="es-ES"/>
              <a:t>Nombre expositor</a:t>
            </a:r>
          </a:p>
          <a:p>
            <a:pPr marL="719138" lvl="1" indent="0">
              <a:lnSpc>
                <a:spcPct val="150000"/>
              </a:lnSpc>
              <a:buNone/>
            </a:pPr>
            <a:r>
              <a:rPr lang="es-CO"/>
              <a:t>correoexpositor@epm.com.co</a:t>
            </a:r>
            <a:br>
              <a:rPr lang="es-CO"/>
            </a:br>
            <a:r>
              <a:rPr lang="es-CO"/>
              <a:t>Teléfono: +57-4 380 8080 </a:t>
            </a:r>
            <a:br>
              <a:rPr lang="es-CO"/>
            </a:br>
            <a:r>
              <a:rPr lang="es-CO"/>
              <a:t>Móvil: 300 123 4567</a:t>
            </a:r>
          </a:p>
          <a:p>
            <a:pPr marL="719138" lvl="1" indent="0">
              <a:lnSpc>
                <a:spcPct val="150000"/>
              </a:lnSpc>
              <a:buNone/>
            </a:pPr>
            <a:r>
              <a:rPr lang="es-CO"/>
              <a:t>Fax: +57-4 265 9350 </a:t>
            </a:r>
            <a:endParaRPr lang="es-ES"/>
          </a:p>
        </p:txBody>
      </p:sp>
      <p:sp>
        <p:nvSpPr>
          <p:cNvPr id="6" name="1 Título"/>
          <p:cNvSpPr txBox="1">
            <a:spLocks/>
          </p:cNvSpPr>
          <p:nvPr userDrawn="1"/>
        </p:nvSpPr>
        <p:spPr>
          <a:xfrm>
            <a:off x="623392" y="1340768"/>
            <a:ext cx="10094912" cy="504056"/>
          </a:xfrm>
          <a:prstGeom prst="rect">
            <a:avLst/>
          </a:prstGeom>
        </p:spPr>
        <p:txBody>
          <a:bodyPr>
            <a:normAutofit/>
          </a:bodyPr>
          <a:lstStyle>
            <a:lvl1pPr algn="l">
              <a:defRPr sz="2800" b="1">
                <a:solidFill>
                  <a:srgbClr val="007934"/>
                </a:solidFill>
                <a:latin typeface="Trebuchet MS"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s-CO" sz="2400" b="1" i="0" u="none" strike="noStrike" kern="1200" cap="none" spc="0" normalizeH="0" baseline="0" noProof="0">
              <a:ln>
                <a:noFill/>
              </a:ln>
              <a:solidFill>
                <a:srgbClr val="5DBF0C"/>
              </a:solidFill>
              <a:effectLst/>
              <a:uLnTx/>
              <a:uFillTx/>
              <a:latin typeface="Trebuchet MS" pitchFamily="34" charset="0"/>
              <a:ea typeface="+mj-ea"/>
              <a:cs typeface="+mj-cs"/>
            </a:endParaRPr>
          </a:p>
        </p:txBody>
      </p:sp>
      <p:sp>
        <p:nvSpPr>
          <p:cNvPr id="7" name="6 Marcador de número de diapositiva"/>
          <p:cNvSpPr>
            <a:spLocks noGrp="1"/>
          </p:cNvSpPr>
          <p:nvPr>
            <p:ph type="sldNum" sz="quarter" idx="12"/>
          </p:nvPr>
        </p:nvSpPr>
        <p:spPr>
          <a:xfrm>
            <a:off x="11382451" y="6334406"/>
            <a:ext cx="809551" cy="365125"/>
          </a:xfrm>
          <a:prstGeom prst="rect">
            <a:avLst/>
          </a:prstGeom>
        </p:spPr>
        <p:txBody>
          <a:bodyPr/>
          <a:lstStyle>
            <a:lvl1pPr>
              <a:defRPr>
                <a:solidFill>
                  <a:schemeClr val="tx1">
                    <a:lumMod val="50000"/>
                    <a:lumOff val="50000"/>
                  </a:schemeClr>
                </a:solidFill>
                <a:latin typeface="Trebuchet MS" pitchFamily="34" charset="0"/>
              </a:defRPr>
            </a:lvl1pPr>
          </a:lstStyle>
          <a:p>
            <a:fld id="{6A390CAE-5A1D-442A-B9F1-736C12844423}" type="slidenum">
              <a:rPr lang="es-CO" smtClean="0"/>
              <a:pPr/>
              <a:t>‹Nº›</a:t>
            </a:fld>
            <a:endParaRPr lang="es-CO"/>
          </a:p>
        </p:txBody>
      </p:sp>
    </p:spTree>
    <p:extLst>
      <p:ext uri="{BB962C8B-B14F-4D97-AF65-F5344CB8AC3E}">
        <p14:creationId xmlns:p14="http://schemas.microsoft.com/office/powerpoint/2010/main" val="168654857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_Diseño personalizado">
    <p:spTree>
      <p:nvGrpSpPr>
        <p:cNvPr id="1" name=""/>
        <p:cNvGrpSpPr/>
        <p:nvPr/>
      </p:nvGrpSpPr>
      <p:grpSpPr>
        <a:xfrm>
          <a:off x="0" y="0"/>
          <a:ext cx="0" cy="0"/>
          <a:chOff x="0" y="0"/>
          <a:chExt cx="0" cy="0"/>
        </a:xfrm>
      </p:grpSpPr>
      <p:pic>
        <p:nvPicPr>
          <p:cNvPr id="8" name="7 Imagen" descr="04_Plantilla_contenidos.jpg"/>
          <p:cNvPicPr>
            <a:picLocks noChangeAspect="1"/>
          </p:cNvPicPr>
          <p:nvPr userDrawn="1"/>
        </p:nvPicPr>
        <p:blipFill>
          <a:blip r:embed="rId2" cstate="print"/>
          <a:stretch>
            <a:fillRect/>
          </a:stretch>
        </p:blipFill>
        <p:spPr>
          <a:xfrm>
            <a:off x="0" y="0"/>
            <a:ext cx="12192000" cy="6858000"/>
          </a:xfrm>
          <a:prstGeom prst="rect">
            <a:avLst/>
          </a:prstGeom>
        </p:spPr>
      </p:pic>
      <p:sp>
        <p:nvSpPr>
          <p:cNvPr id="4" name="1 Título"/>
          <p:cNvSpPr>
            <a:spLocks noGrp="1"/>
          </p:cNvSpPr>
          <p:nvPr>
            <p:ph type="title" hasCustomPrompt="1"/>
          </p:nvPr>
        </p:nvSpPr>
        <p:spPr>
          <a:xfrm>
            <a:off x="623392" y="332656"/>
            <a:ext cx="10094912" cy="792088"/>
          </a:xfrm>
          <a:prstGeom prst="rect">
            <a:avLst/>
          </a:prstGeom>
        </p:spPr>
        <p:txBody>
          <a:bodyPr>
            <a:normAutofit/>
          </a:bodyPr>
          <a:lstStyle>
            <a:lvl1pPr algn="l">
              <a:defRPr sz="2800" b="1" baseline="0">
                <a:solidFill>
                  <a:srgbClr val="007934"/>
                </a:solidFill>
                <a:latin typeface="Trebuchet MS" pitchFamily="34" charset="0"/>
              </a:defRPr>
            </a:lvl1pPr>
          </a:lstStyle>
          <a:p>
            <a:r>
              <a:rPr lang="es-ES"/>
              <a:t>Bibliografía / </a:t>
            </a:r>
            <a:r>
              <a:rPr lang="es-ES" err="1"/>
              <a:t>cibergrafía</a:t>
            </a:r>
            <a:r>
              <a:rPr lang="es-ES"/>
              <a:t> / créditos</a:t>
            </a:r>
            <a:endParaRPr lang="es-CO"/>
          </a:p>
        </p:txBody>
      </p:sp>
      <p:sp>
        <p:nvSpPr>
          <p:cNvPr id="5" name="2 Marcador de contenido"/>
          <p:cNvSpPr>
            <a:spLocks noGrp="1"/>
          </p:cNvSpPr>
          <p:nvPr>
            <p:ph idx="1" hasCustomPrompt="1"/>
          </p:nvPr>
        </p:nvSpPr>
        <p:spPr>
          <a:xfrm>
            <a:off x="609600" y="1463041"/>
            <a:ext cx="10574965" cy="4126201"/>
          </a:xfrm>
          <a:prstGeom prst="rect">
            <a:avLst/>
          </a:prstGeom>
        </p:spPr>
        <p:txBody>
          <a:bodyPr>
            <a:normAutofit/>
          </a:bodyPr>
          <a:lstStyle>
            <a:lvl1pPr>
              <a:buFont typeface="Courier New" pitchFamily="49" charset="0"/>
              <a:buChar char="o"/>
              <a:defRPr sz="2000" b="1" baseline="0">
                <a:solidFill>
                  <a:schemeClr val="tx1">
                    <a:lumMod val="65000"/>
                    <a:lumOff val="35000"/>
                  </a:schemeClr>
                </a:solidFill>
                <a:latin typeface="Trebuchet MS" pitchFamily="34" charset="0"/>
              </a:defRPr>
            </a:lvl1pPr>
            <a:lvl2pPr>
              <a:buFont typeface="Arial" pitchFamily="34" charset="0"/>
              <a:buChar char="•"/>
              <a:defRPr sz="1600" baseline="0">
                <a:solidFill>
                  <a:schemeClr val="tx1">
                    <a:lumMod val="50000"/>
                    <a:lumOff val="50000"/>
                  </a:schemeClr>
                </a:solidFill>
                <a:latin typeface="Trebuchet MS" pitchFamily="34" charset="0"/>
              </a:defRPr>
            </a:lvl2pPr>
          </a:lstStyle>
          <a:p>
            <a:pPr lvl="0"/>
            <a:r>
              <a:rPr lang="es-ES"/>
              <a:t>Nombre libro</a:t>
            </a:r>
          </a:p>
          <a:p>
            <a:pPr lvl="1"/>
            <a:r>
              <a:rPr lang="es-ES"/>
              <a:t>Autor / Edición  / página / </a:t>
            </a:r>
          </a:p>
          <a:p>
            <a:pPr lvl="0"/>
            <a:r>
              <a:rPr lang="es-ES"/>
              <a:t>Nombre sitio web</a:t>
            </a:r>
          </a:p>
          <a:p>
            <a:pPr lvl="1"/>
            <a:r>
              <a:rPr lang="es-ES"/>
              <a:t>Enlace / fecha</a:t>
            </a:r>
          </a:p>
          <a:p>
            <a:pPr lvl="0"/>
            <a:r>
              <a:rPr lang="es-ES"/>
              <a:t>Colaboradores</a:t>
            </a:r>
          </a:p>
          <a:p>
            <a:pPr lvl="1"/>
            <a:r>
              <a:rPr lang="es-CO"/>
              <a:t>Nombre colaborador</a:t>
            </a:r>
          </a:p>
        </p:txBody>
      </p:sp>
      <p:sp>
        <p:nvSpPr>
          <p:cNvPr id="6" name="1 Título"/>
          <p:cNvSpPr txBox="1">
            <a:spLocks/>
          </p:cNvSpPr>
          <p:nvPr userDrawn="1"/>
        </p:nvSpPr>
        <p:spPr>
          <a:xfrm>
            <a:off x="623392" y="1340768"/>
            <a:ext cx="10094912" cy="504056"/>
          </a:xfrm>
          <a:prstGeom prst="rect">
            <a:avLst/>
          </a:prstGeom>
        </p:spPr>
        <p:txBody>
          <a:bodyPr>
            <a:normAutofit/>
          </a:bodyPr>
          <a:lstStyle>
            <a:lvl1pPr algn="l">
              <a:defRPr sz="2800" b="1">
                <a:solidFill>
                  <a:srgbClr val="007934"/>
                </a:solidFill>
                <a:latin typeface="Trebuchet MS"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s-CO" sz="2400" b="1" i="0" u="none" strike="noStrike" kern="1200" cap="none" spc="0" normalizeH="0" baseline="0" noProof="0">
              <a:ln>
                <a:noFill/>
              </a:ln>
              <a:solidFill>
                <a:srgbClr val="5DBF0C"/>
              </a:solidFill>
              <a:effectLst/>
              <a:uLnTx/>
              <a:uFillTx/>
              <a:latin typeface="Trebuchet MS" pitchFamily="34" charset="0"/>
              <a:ea typeface="+mj-ea"/>
              <a:cs typeface="+mj-cs"/>
            </a:endParaRPr>
          </a:p>
        </p:txBody>
      </p:sp>
      <p:sp>
        <p:nvSpPr>
          <p:cNvPr id="7" name="6 Marcador de número de diapositiva"/>
          <p:cNvSpPr>
            <a:spLocks noGrp="1"/>
          </p:cNvSpPr>
          <p:nvPr>
            <p:ph type="sldNum" sz="quarter" idx="12"/>
          </p:nvPr>
        </p:nvSpPr>
        <p:spPr>
          <a:xfrm>
            <a:off x="11382451" y="6334406"/>
            <a:ext cx="809551" cy="365125"/>
          </a:xfrm>
          <a:prstGeom prst="rect">
            <a:avLst/>
          </a:prstGeom>
        </p:spPr>
        <p:txBody>
          <a:bodyPr/>
          <a:lstStyle>
            <a:lvl1pPr>
              <a:defRPr>
                <a:solidFill>
                  <a:schemeClr val="tx1">
                    <a:lumMod val="50000"/>
                    <a:lumOff val="50000"/>
                  </a:schemeClr>
                </a:solidFill>
                <a:latin typeface="Trebuchet MS" pitchFamily="34" charset="0"/>
              </a:defRPr>
            </a:lvl1pPr>
          </a:lstStyle>
          <a:p>
            <a:fld id="{6A390CAE-5A1D-442A-B9F1-736C12844423}" type="slidenum">
              <a:rPr lang="es-CO" smtClean="0"/>
              <a:pPr/>
              <a:t>‹Nº›</a:t>
            </a:fld>
            <a:endParaRPr lang="es-CO"/>
          </a:p>
        </p:txBody>
      </p:sp>
    </p:spTree>
    <p:extLst>
      <p:ext uri="{BB962C8B-B14F-4D97-AF65-F5344CB8AC3E}">
        <p14:creationId xmlns:p14="http://schemas.microsoft.com/office/powerpoint/2010/main" val="27569704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Encabezado, subtitulo y texto">
    <p:spTree>
      <p:nvGrpSpPr>
        <p:cNvPr id="1" name=""/>
        <p:cNvGrpSpPr/>
        <p:nvPr/>
      </p:nvGrpSpPr>
      <p:grpSpPr>
        <a:xfrm>
          <a:off x="0" y="0"/>
          <a:ext cx="0" cy="0"/>
          <a:chOff x="0" y="0"/>
          <a:chExt cx="0" cy="0"/>
        </a:xfrm>
      </p:grpSpPr>
      <p:sp>
        <p:nvSpPr>
          <p:cNvPr id="2" name="1 Título"/>
          <p:cNvSpPr>
            <a:spLocks noGrp="1"/>
          </p:cNvSpPr>
          <p:nvPr>
            <p:ph type="title"/>
          </p:nvPr>
        </p:nvSpPr>
        <p:spPr>
          <a:xfrm>
            <a:off x="609603" y="398933"/>
            <a:ext cx="8421948" cy="373433"/>
          </a:xfrm>
          <a:prstGeom prst="rect">
            <a:avLst/>
          </a:prstGeom>
        </p:spPr>
        <p:txBody>
          <a:bodyPr lIns="121784" tIns="60891" rIns="121784" bIns="60891"/>
          <a:lstStyle>
            <a:lvl1pPr algn="l">
              <a:defRPr sz="1652" b="1" i="1">
                <a:solidFill>
                  <a:schemeClr val="accent3"/>
                </a:solidFill>
              </a:defRPr>
            </a:lvl1pPr>
          </a:lstStyle>
          <a:p>
            <a:r>
              <a:rPr lang="es-ES"/>
              <a:t>Haga clic para modificar el estilo de título del patrón</a:t>
            </a:r>
            <a:endParaRPr lang="es-CO"/>
          </a:p>
        </p:txBody>
      </p:sp>
      <p:sp>
        <p:nvSpPr>
          <p:cNvPr id="5" name="12 Marcador de contenido"/>
          <p:cNvSpPr>
            <a:spLocks noGrp="1"/>
          </p:cNvSpPr>
          <p:nvPr>
            <p:ph sz="quarter" idx="15"/>
          </p:nvPr>
        </p:nvSpPr>
        <p:spPr>
          <a:xfrm>
            <a:off x="615517" y="799220"/>
            <a:ext cx="8427870" cy="266700"/>
          </a:xfrm>
          <a:prstGeom prst="rect">
            <a:avLst/>
          </a:prstGeom>
        </p:spPr>
        <p:txBody>
          <a:bodyPr lIns="121784" tIns="60891" rIns="121784" bIns="60891"/>
          <a:lstStyle>
            <a:lvl1pPr>
              <a:buNone/>
              <a:defRPr sz="1652" i="1">
                <a:solidFill>
                  <a:schemeClr val="accent6"/>
                </a:solidFill>
              </a:defRPr>
            </a:lvl1pPr>
          </a:lstStyle>
          <a:p>
            <a:pPr lvl="0"/>
            <a:r>
              <a:rPr lang="es-ES"/>
              <a:t>Haga clic para modificar el estilo de texto del patrón</a:t>
            </a:r>
          </a:p>
        </p:txBody>
      </p:sp>
      <p:sp>
        <p:nvSpPr>
          <p:cNvPr id="7" name="5 Marcador de texto"/>
          <p:cNvSpPr>
            <a:spLocks noGrp="1"/>
          </p:cNvSpPr>
          <p:nvPr>
            <p:ph type="body" sz="quarter" idx="10"/>
          </p:nvPr>
        </p:nvSpPr>
        <p:spPr>
          <a:xfrm>
            <a:off x="615520" y="1118587"/>
            <a:ext cx="11031987" cy="4802820"/>
          </a:xfrm>
          <a:prstGeom prst="rect">
            <a:avLst/>
          </a:prstGeom>
        </p:spPr>
        <p:txBody>
          <a:bodyPr lIns="121784" tIns="60891" rIns="121784" bIns="60891" anchor="ctr"/>
          <a:lstStyle>
            <a:lvl1pPr algn="l">
              <a:buFontTx/>
              <a:buBlip>
                <a:blip r:embed="rId2"/>
              </a:buBlip>
              <a:defRPr sz="1802">
                <a:solidFill>
                  <a:schemeClr val="tx1"/>
                </a:solidFill>
              </a:defRPr>
            </a:lvl1pPr>
          </a:lstStyle>
          <a:p>
            <a:pPr lvl="0"/>
            <a:r>
              <a:rPr lang="es-ES"/>
              <a:t>Haga clic para modificar el estilo de texto del patrón</a:t>
            </a:r>
          </a:p>
        </p:txBody>
      </p:sp>
    </p:spTree>
    <p:extLst>
      <p:ext uri="{BB962C8B-B14F-4D97-AF65-F5344CB8AC3E}">
        <p14:creationId xmlns:p14="http://schemas.microsoft.com/office/powerpoint/2010/main" val="32580877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Separador 02">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66684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Insertar objeto">
    <p:spTree>
      <p:nvGrpSpPr>
        <p:cNvPr id="1" name=""/>
        <p:cNvGrpSpPr/>
        <p:nvPr/>
      </p:nvGrpSpPr>
      <p:grpSpPr>
        <a:xfrm>
          <a:off x="0" y="0"/>
          <a:ext cx="0" cy="0"/>
          <a:chOff x="0" y="0"/>
          <a:chExt cx="0" cy="0"/>
        </a:xfrm>
      </p:grpSpPr>
      <p:sp>
        <p:nvSpPr>
          <p:cNvPr id="21" name="20 Marcador de contenido"/>
          <p:cNvSpPr>
            <a:spLocks noGrp="1"/>
          </p:cNvSpPr>
          <p:nvPr>
            <p:ph sz="quarter" idx="10"/>
          </p:nvPr>
        </p:nvSpPr>
        <p:spPr>
          <a:xfrm>
            <a:off x="0" y="0"/>
            <a:ext cx="12192000" cy="6858000"/>
          </a:xfrm>
          <a:prstGeom prst="rect">
            <a:avLst/>
          </a:prstGeom>
        </p:spPr>
        <p:txBody>
          <a:bodyPr lIns="121784" tIns="60891" rIns="121784" bIns="60891"/>
          <a:lstStyle>
            <a:lvl1pPr>
              <a:buNone/>
              <a:defRPr sz="2027"/>
            </a:lvl1pPr>
          </a:lstStyle>
          <a:p>
            <a:pPr lvl="0"/>
            <a:r>
              <a:rPr lang="es-ES"/>
              <a:t>Haga clic para modificar el estilo de texto del patrón</a:t>
            </a:r>
          </a:p>
        </p:txBody>
      </p:sp>
      <p:sp>
        <p:nvSpPr>
          <p:cNvPr id="15" name="14 Rectángulo"/>
          <p:cNvSpPr/>
          <p:nvPr/>
        </p:nvSpPr>
        <p:spPr>
          <a:xfrm>
            <a:off x="10143744" y="6045798"/>
            <a:ext cx="2048256" cy="8122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a:endParaRPr lang="es-CO" sz="1351">
              <a:solidFill>
                <a:srgbClr val="2C2C2C"/>
              </a:solidFill>
            </a:endParaRPr>
          </a:p>
        </p:txBody>
      </p:sp>
      <p:sp>
        <p:nvSpPr>
          <p:cNvPr id="16" name="15 Rectángulo"/>
          <p:cNvSpPr/>
          <p:nvPr/>
        </p:nvSpPr>
        <p:spPr>
          <a:xfrm>
            <a:off x="10875266" y="384048"/>
            <a:ext cx="926592" cy="4389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a:endParaRPr lang="es-CO" sz="1351">
              <a:solidFill>
                <a:srgbClr val="2C2C2C"/>
              </a:solidFill>
            </a:endParaRPr>
          </a:p>
        </p:txBody>
      </p:sp>
      <p:sp>
        <p:nvSpPr>
          <p:cNvPr id="17" name="16 Rectángulo"/>
          <p:cNvSpPr/>
          <p:nvPr/>
        </p:nvSpPr>
        <p:spPr>
          <a:xfrm>
            <a:off x="2" y="2084832"/>
            <a:ext cx="719328" cy="26243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a:endParaRPr lang="es-CO" sz="1351">
              <a:solidFill>
                <a:srgbClr val="2C2C2C"/>
              </a:solidFill>
            </a:endParaRPr>
          </a:p>
        </p:txBody>
      </p:sp>
    </p:spTree>
    <p:extLst>
      <p:ext uri="{BB962C8B-B14F-4D97-AF65-F5344CB8AC3E}">
        <p14:creationId xmlns:p14="http://schemas.microsoft.com/office/powerpoint/2010/main" val="347405498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jpe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vmlDrawing" Target="../drawings/vmlDrawing2.v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heme" Target="../theme/theme2.xml"/><Relationship Id="rId17" Type="http://schemas.openxmlformats.org/officeDocument/2006/relationships/image" Target="../media/image21.jpeg"/><Relationship Id="rId2" Type="http://schemas.openxmlformats.org/officeDocument/2006/relationships/slideLayout" Target="../slideLayouts/slideLayout43.xml"/><Relationship Id="rId16" Type="http://schemas.openxmlformats.org/officeDocument/2006/relationships/image" Target="../media/image17.emf"/><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oleObject" Target="../embeddings/oleObject2.bin"/><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theme" Target="../theme/theme3.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image" Target="../media/image22.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7" descr="Plantilla 12"/>
          <p:cNvPicPr>
            <a:picLocks noChangeAspect="1" noChangeArrowheads="1"/>
          </p:cNvPicPr>
          <p:nvPr/>
        </p:nvPicPr>
        <p:blipFill>
          <a:blip r:embed="rId43" cstate="email"/>
          <a:srcRect/>
          <a:stretch>
            <a:fillRect/>
          </a:stretch>
        </p:blipFill>
        <p:spPr bwMode="auto">
          <a:xfrm>
            <a:off x="2" y="0"/>
            <a:ext cx="12175065" cy="6851650"/>
          </a:xfrm>
          <a:prstGeom prst="rect">
            <a:avLst/>
          </a:prstGeom>
          <a:noFill/>
          <a:ln w="9525">
            <a:noFill/>
            <a:miter lim="800000"/>
            <a:headEnd/>
            <a:tailEnd/>
          </a:ln>
        </p:spPr>
      </p:pic>
      <p:sp>
        <p:nvSpPr>
          <p:cNvPr id="8" name="38 Rectángulo"/>
          <p:cNvSpPr>
            <a:spLocks noChangeArrowheads="1"/>
          </p:cNvSpPr>
          <p:nvPr/>
        </p:nvSpPr>
        <p:spPr bwMode="auto">
          <a:xfrm>
            <a:off x="11035665" y="424397"/>
            <a:ext cx="823382" cy="346562"/>
          </a:xfrm>
          <a:prstGeom prst="rect">
            <a:avLst/>
          </a:prstGeom>
          <a:noFill/>
          <a:ln w="9525">
            <a:noFill/>
            <a:miter lim="800000"/>
            <a:headEnd/>
            <a:tailEnd/>
          </a:ln>
        </p:spPr>
        <p:txBody>
          <a:bodyPr lIns="91433" tIns="45716" rIns="91433" bIns="45716">
            <a:spAutoFit/>
          </a:bodyPr>
          <a:lstStyle/>
          <a:p>
            <a:pPr>
              <a:defRPr/>
            </a:pPr>
            <a:fld id="{33B801F5-4D1F-4916-A1A9-63486D012A9D}" type="slidenum">
              <a:rPr lang="es-ES" sz="1652" b="1" i="1">
                <a:solidFill>
                  <a:srgbClr val="00B050"/>
                </a:solidFill>
              </a:rPr>
              <a:pPr>
                <a:defRPr/>
              </a:pPr>
              <a:t>‹Nº›</a:t>
            </a:fld>
            <a:endParaRPr lang="es-ES" sz="1652" b="1" i="1">
              <a:solidFill>
                <a:srgbClr val="00B050"/>
              </a:solidFill>
            </a:endParaRPr>
          </a:p>
        </p:txBody>
      </p:sp>
    </p:spTree>
    <p:extLst>
      <p:ext uri="{BB962C8B-B14F-4D97-AF65-F5344CB8AC3E}">
        <p14:creationId xmlns:p14="http://schemas.microsoft.com/office/powerpoint/2010/main" val="4025808751"/>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 id="2147483691" r:id="rId21"/>
    <p:sldLayoutId id="2147483692" r:id="rId22"/>
    <p:sldLayoutId id="2147483693" r:id="rId23"/>
    <p:sldLayoutId id="2147483694" r:id="rId24"/>
    <p:sldLayoutId id="2147483695" r:id="rId25"/>
    <p:sldLayoutId id="2147483696" r:id="rId26"/>
    <p:sldLayoutId id="2147483697" r:id="rId27"/>
    <p:sldLayoutId id="2147483698" r:id="rId28"/>
    <p:sldLayoutId id="2147483699" r:id="rId29"/>
    <p:sldLayoutId id="2147483701" r:id="rId30"/>
    <p:sldLayoutId id="2147483702" r:id="rId31"/>
    <p:sldLayoutId id="2147483703" r:id="rId32"/>
    <p:sldLayoutId id="2147483704" r:id="rId33"/>
    <p:sldLayoutId id="2147483705" r:id="rId34"/>
    <p:sldLayoutId id="2147483706" r:id="rId35"/>
    <p:sldLayoutId id="2147483707" r:id="rId36"/>
    <p:sldLayoutId id="2147483709" r:id="rId37"/>
    <p:sldLayoutId id="2147483818" r:id="rId38"/>
    <p:sldLayoutId id="2147483819" r:id="rId39"/>
    <p:sldLayoutId id="2147483820" r:id="rId40"/>
    <p:sldLayoutId id="2147483817" r:id="rId41"/>
  </p:sldLayoutIdLst>
  <p:txStyles>
    <p:titleStyle>
      <a:lvl1pPr algn="ctr" defTabSz="914351" rtl="0" eaLnBrk="1" latinLnBrk="0" hangingPunct="1">
        <a:spcBef>
          <a:spcPct val="0"/>
        </a:spcBef>
        <a:buNone/>
        <a:defRPr sz="4355" kern="1200">
          <a:solidFill>
            <a:schemeClr val="tx1"/>
          </a:solidFill>
          <a:latin typeface="+mj-lt"/>
          <a:ea typeface="+mj-ea"/>
          <a:cs typeface="+mj-cs"/>
        </a:defRPr>
      </a:lvl1pPr>
    </p:titleStyle>
    <p:bodyStyle>
      <a:lvl1pPr marL="342882" indent="-342882" algn="l" defTabSz="914351" rtl="0" eaLnBrk="1" latinLnBrk="0" hangingPunct="1">
        <a:spcBef>
          <a:spcPct val="20000"/>
        </a:spcBef>
        <a:buFont typeface="Arial" pitchFamily="34" charset="0"/>
        <a:buChar char="•"/>
        <a:defRPr sz="3228" kern="1200">
          <a:solidFill>
            <a:schemeClr val="tx1"/>
          </a:solidFill>
          <a:latin typeface="+mn-lt"/>
          <a:ea typeface="+mn-ea"/>
          <a:cs typeface="+mn-cs"/>
        </a:defRPr>
      </a:lvl1pPr>
      <a:lvl2pPr marL="742910" indent="-285734" algn="l" defTabSz="914351" rtl="0" eaLnBrk="1" latinLnBrk="0" hangingPunct="1">
        <a:spcBef>
          <a:spcPct val="20000"/>
        </a:spcBef>
        <a:buFont typeface="Arial" pitchFamily="34" charset="0"/>
        <a:buChar char="–"/>
        <a:defRPr sz="2778" kern="1200">
          <a:solidFill>
            <a:schemeClr val="tx1"/>
          </a:solidFill>
          <a:latin typeface="+mn-lt"/>
          <a:ea typeface="+mn-ea"/>
          <a:cs typeface="+mn-cs"/>
        </a:defRPr>
      </a:lvl2pPr>
      <a:lvl3pPr marL="1142940" indent="-228587" algn="l" defTabSz="914351" rtl="0" eaLnBrk="1" latinLnBrk="0" hangingPunct="1">
        <a:spcBef>
          <a:spcPct val="20000"/>
        </a:spcBef>
        <a:buFont typeface="Arial" pitchFamily="34" charset="0"/>
        <a:buChar char="•"/>
        <a:defRPr sz="2403" kern="1200">
          <a:solidFill>
            <a:schemeClr val="tx1"/>
          </a:solidFill>
          <a:latin typeface="+mn-lt"/>
          <a:ea typeface="+mn-ea"/>
          <a:cs typeface="+mn-cs"/>
        </a:defRPr>
      </a:lvl3pPr>
      <a:lvl4pPr marL="1600114" indent="-228587" algn="l" defTabSz="914351" rtl="0" eaLnBrk="1" latinLnBrk="0" hangingPunct="1">
        <a:spcBef>
          <a:spcPct val="20000"/>
        </a:spcBef>
        <a:buFont typeface="Arial" pitchFamily="34" charset="0"/>
        <a:buChar char="–"/>
        <a:defRPr sz="2027" kern="1200">
          <a:solidFill>
            <a:schemeClr val="tx1"/>
          </a:solidFill>
          <a:latin typeface="+mn-lt"/>
          <a:ea typeface="+mn-ea"/>
          <a:cs typeface="+mn-cs"/>
        </a:defRPr>
      </a:lvl4pPr>
      <a:lvl5pPr marL="2057290" indent="-228587" algn="l" defTabSz="914351" rtl="0" eaLnBrk="1" latinLnBrk="0" hangingPunct="1">
        <a:spcBef>
          <a:spcPct val="20000"/>
        </a:spcBef>
        <a:buFont typeface="Arial" pitchFamily="34" charset="0"/>
        <a:buChar char="»"/>
        <a:defRPr sz="2027" kern="1200">
          <a:solidFill>
            <a:schemeClr val="tx1"/>
          </a:solidFill>
          <a:latin typeface="+mn-lt"/>
          <a:ea typeface="+mn-ea"/>
          <a:cs typeface="+mn-cs"/>
        </a:defRPr>
      </a:lvl5pPr>
      <a:lvl6pPr marL="2514466" indent="-228587" algn="l" defTabSz="914351" rtl="0" eaLnBrk="1" latinLnBrk="0" hangingPunct="1">
        <a:spcBef>
          <a:spcPct val="20000"/>
        </a:spcBef>
        <a:buFont typeface="Arial" pitchFamily="34" charset="0"/>
        <a:buChar char="•"/>
        <a:defRPr sz="2027" kern="1200">
          <a:solidFill>
            <a:schemeClr val="tx1"/>
          </a:solidFill>
          <a:latin typeface="+mn-lt"/>
          <a:ea typeface="+mn-ea"/>
          <a:cs typeface="+mn-cs"/>
        </a:defRPr>
      </a:lvl6pPr>
      <a:lvl7pPr marL="2971641" indent="-228587" algn="l" defTabSz="914351" rtl="0" eaLnBrk="1" latinLnBrk="0" hangingPunct="1">
        <a:spcBef>
          <a:spcPct val="20000"/>
        </a:spcBef>
        <a:buFont typeface="Arial" pitchFamily="34" charset="0"/>
        <a:buChar char="•"/>
        <a:defRPr sz="2027" kern="1200">
          <a:solidFill>
            <a:schemeClr val="tx1"/>
          </a:solidFill>
          <a:latin typeface="+mn-lt"/>
          <a:ea typeface="+mn-ea"/>
          <a:cs typeface="+mn-cs"/>
        </a:defRPr>
      </a:lvl7pPr>
      <a:lvl8pPr marL="3428817" indent="-228587" algn="l" defTabSz="914351" rtl="0" eaLnBrk="1" latinLnBrk="0" hangingPunct="1">
        <a:spcBef>
          <a:spcPct val="20000"/>
        </a:spcBef>
        <a:buFont typeface="Arial" pitchFamily="34" charset="0"/>
        <a:buChar char="•"/>
        <a:defRPr sz="2027" kern="1200">
          <a:solidFill>
            <a:schemeClr val="tx1"/>
          </a:solidFill>
          <a:latin typeface="+mn-lt"/>
          <a:ea typeface="+mn-ea"/>
          <a:cs typeface="+mn-cs"/>
        </a:defRPr>
      </a:lvl8pPr>
      <a:lvl9pPr marL="3885993" indent="-228587" algn="l" defTabSz="914351" rtl="0" eaLnBrk="1" latinLnBrk="0" hangingPunct="1">
        <a:spcBef>
          <a:spcPct val="20000"/>
        </a:spcBef>
        <a:buFont typeface="Arial" pitchFamily="34" charset="0"/>
        <a:buChar char="•"/>
        <a:defRPr sz="2027" kern="1200">
          <a:solidFill>
            <a:schemeClr val="tx1"/>
          </a:solidFill>
          <a:latin typeface="+mn-lt"/>
          <a:ea typeface="+mn-ea"/>
          <a:cs typeface="+mn-cs"/>
        </a:defRPr>
      </a:lvl9pPr>
    </p:bodyStyle>
    <p:otherStyle>
      <a:defPPr>
        <a:defRPr lang="es-ES"/>
      </a:defPPr>
      <a:lvl1pPr marL="0" algn="l" defTabSz="914351" rtl="0" eaLnBrk="1" latinLnBrk="0" hangingPunct="1">
        <a:defRPr sz="1802" kern="1200">
          <a:solidFill>
            <a:schemeClr val="tx1"/>
          </a:solidFill>
          <a:latin typeface="+mn-lt"/>
          <a:ea typeface="+mn-ea"/>
          <a:cs typeface="+mn-cs"/>
        </a:defRPr>
      </a:lvl1pPr>
      <a:lvl2pPr marL="457176" algn="l" defTabSz="914351" rtl="0" eaLnBrk="1" latinLnBrk="0" hangingPunct="1">
        <a:defRPr sz="1802" kern="1200">
          <a:solidFill>
            <a:schemeClr val="tx1"/>
          </a:solidFill>
          <a:latin typeface="+mn-lt"/>
          <a:ea typeface="+mn-ea"/>
          <a:cs typeface="+mn-cs"/>
        </a:defRPr>
      </a:lvl2pPr>
      <a:lvl3pPr marL="914351" algn="l" defTabSz="914351" rtl="0" eaLnBrk="1" latinLnBrk="0" hangingPunct="1">
        <a:defRPr sz="1802" kern="1200">
          <a:solidFill>
            <a:schemeClr val="tx1"/>
          </a:solidFill>
          <a:latin typeface="+mn-lt"/>
          <a:ea typeface="+mn-ea"/>
          <a:cs typeface="+mn-cs"/>
        </a:defRPr>
      </a:lvl3pPr>
      <a:lvl4pPr marL="1371527" algn="l" defTabSz="914351" rtl="0" eaLnBrk="1" latinLnBrk="0" hangingPunct="1">
        <a:defRPr sz="1802" kern="1200">
          <a:solidFill>
            <a:schemeClr val="tx1"/>
          </a:solidFill>
          <a:latin typeface="+mn-lt"/>
          <a:ea typeface="+mn-ea"/>
          <a:cs typeface="+mn-cs"/>
        </a:defRPr>
      </a:lvl4pPr>
      <a:lvl5pPr marL="1828703" algn="l" defTabSz="914351" rtl="0" eaLnBrk="1" latinLnBrk="0" hangingPunct="1">
        <a:defRPr sz="1802" kern="1200">
          <a:solidFill>
            <a:schemeClr val="tx1"/>
          </a:solidFill>
          <a:latin typeface="+mn-lt"/>
          <a:ea typeface="+mn-ea"/>
          <a:cs typeface="+mn-cs"/>
        </a:defRPr>
      </a:lvl5pPr>
      <a:lvl6pPr marL="2285878" algn="l" defTabSz="914351" rtl="0" eaLnBrk="1" latinLnBrk="0" hangingPunct="1">
        <a:defRPr sz="1802" kern="1200">
          <a:solidFill>
            <a:schemeClr val="tx1"/>
          </a:solidFill>
          <a:latin typeface="+mn-lt"/>
          <a:ea typeface="+mn-ea"/>
          <a:cs typeface="+mn-cs"/>
        </a:defRPr>
      </a:lvl6pPr>
      <a:lvl7pPr marL="2743054" algn="l" defTabSz="914351" rtl="0" eaLnBrk="1" latinLnBrk="0" hangingPunct="1">
        <a:defRPr sz="1802" kern="1200">
          <a:solidFill>
            <a:schemeClr val="tx1"/>
          </a:solidFill>
          <a:latin typeface="+mn-lt"/>
          <a:ea typeface="+mn-ea"/>
          <a:cs typeface="+mn-cs"/>
        </a:defRPr>
      </a:lvl7pPr>
      <a:lvl8pPr marL="3200229" algn="l" defTabSz="914351" rtl="0" eaLnBrk="1" latinLnBrk="0" hangingPunct="1">
        <a:defRPr sz="1802" kern="1200">
          <a:solidFill>
            <a:schemeClr val="tx1"/>
          </a:solidFill>
          <a:latin typeface="+mn-lt"/>
          <a:ea typeface="+mn-ea"/>
          <a:cs typeface="+mn-cs"/>
        </a:defRPr>
      </a:lvl8pPr>
      <a:lvl9pPr marL="3657405" algn="l" defTabSz="914351" rtl="0" eaLnBrk="1" latinLnBrk="0" hangingPunct="1">
        <a:defRPr sz="180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050" name="Object 601" hidden="1"/>
          <p:cNvGraphicFramePr>
            <a:graphicFrameLocks noChangeAspect="1"/>
          </p:cNvGraphicFramePr>
          <p:nvPr>
            <p:custDataLst>
              <p:tags r:id="rId14"/>
            </p:custDataLst>
            <p:extLst/>
          </p:nvPr>
        </p:nvGraphicFramePr>
        <p:xfrm>
          <a:off x="1982" y="1613"/>
          <a:ext cx="1953" cy="1587"/>
        </p:xfrm>
        <a:graphic>
          <a:graphicData uri="http://schemas.openxmlformats.org/presentationml/2006/ole">
            <mc:AlternateContent xmlns:mc="http://schemas.openxmlformats.org/markup-compatibility/2006">
              <mc:Choice xmlns:v="urn:schemas-microsoft-com:vml" Requires="v">
                <p:oleObj spid="_x0000_s49476" name="think-cell Slide" r:id="rId15" imgW="360" imgH="360" progId="">
                  <p:embed/>
                </p:oleObj>
              </mc:Choice>
              <mc:Fallback>
                <p:oleObj name="think-cell Slide" r:id="rId15" imgW="360" imgH="360" progId="">
                  <p:embed/>
                  <p:pic>
                    <p:nvPicPr>
                      <p:cNvPr id="2050" name="Object 60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82" y="161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51" name="2 Imagen"/>
          <p:cNvPicPr>
            <a:picLocks noChangeAspect="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2" name="Title Placeholder 1"/>
          <p:cNvSpPr>
            <a:spLocks noGrp="1"/>
          </p:cNvSpPr>
          <p:nvPr>
            <p:ph type="title"/>
          </p:nvPr>
        </p:nvSpPr>
        <p:spPr bwMode="auto">
          <a:xfrm>
            <a:off x="760071" y="266726"/>
            <a:ext cx="10335847"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s-ES"/>
              <a:t>Título diapositiva</a:t>
            </a:r>
          </a:p>
        </p:txBody>
      </p:sp>
    </p:spTree>
    <p:extLst>
      <p:ext uri="{BB962C8B-B14F-4D97-AF65-F5344CB8AC3E}">
        <p14:creationId xmlns:p14="http://schemas.microsoft.com/office/powerpoint/2010/main" val="1376330782"/>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8" r:id="rId7"/>
    <p:sldLayoutId id="2147483729" r:id="rId8"/>
    <p:sldLayoutId id="2147483730" r:id="rId9"/>
    <p:sldLayoutId id="2147483731" r:id="rId10"/>
    <p:sldLayoutId id="2147483734" r:id="rId11"/>
  </p:sldLayoutIdLst>
  <p:hf sldNum="0" hdr="0" ftr="0" dt="0"/>
  <p:txStyles>
    <p:titleStyle>
      <a:lvl1pPr algn="l" rtl="0" eaLnBrk="0" fontAlgn="base" hangingPunct="0">
        <a:spcBef>
          <a:spcPct val="0"/>
        </a:spcBef>
        <a:spcAft>
          <a:spcPct val="0"/>
        </a:spcAft>
        <a:defRPr sz="2400" b="1" kern="1200">
          <a:solidFill>
            <a:srgbClr val="007934"/>
          </a:solidFill>
          <a:latin typeface="+mn-lt"/>
          <a:ea typeface="+mj-ea"/>
          <a:cs typeface="+mj-cs"/>
        </a:defRPr>
      </a:lvl1pPr>
      <a:lvl2pPr algn="l" rtl="0" eaLnBrk="0" fontAlgn="base" hangingPunct="0">
        <a:spcBef>
          <a:spcPct val="0"/>
        </a:spcBef>
        <a:spcAft>
          <a:spcPct val="0"/>
        </a:spcAft>
        <a:defRPr sz="2400" b="1">
          <a:solidFill>
            <a:srgbClr val="007934"/>
          </a:solidFill>
          <a:latin typeface="Arial" pitchFamily="34" charset="0"/>
        </a:defRPr>
      </a:lvl2pPr>
      <a:lvl3pPr algn="l" rtl="0" eaLnBrk="0" fontAlgn="base" hangingPunct="0">
        <a:spcBef>
          <a:spcPct val="0"/>
        </a:spcBef>
        <a:spcAft>
          <a:spcPct val="0"/>
        </a:spcAft>
        <a:defRPr sz="2400" b="1">
          <a:solidFill>
            <a:srgbClr val="007934"/>
          </a:solidFill>
          <a:latin typeface="Arial" pitchFamily="34" charset="0"/>
        </a:defRPr>
      </a:lvl3pPr>
      <a:lvl4pPr algn="l" rtl="0" eaLnBrk="0" fontAlgn="base" hangingPunct="0">
        <a:spcBef>
          <a:spcPct val="0"/>
        </a:spcBef>
        <a:spcAft>
          <a:spcPct val="0"/>
        </a:spcAft>
        <a:defRPr sz="2400" b="1">
          <a:solidFill>
            <a:srgbClr val="007934"/>
          </a:solidFill>
          <a:latin typeface="Arial" pitchFamily="34" charset="0"/>
        </a:defRPr>
      </a:lvl4pPr>
      <a:lvl5pPr algn="l" rtl="0" eaLnBrk="0" fontAlgn="base" hangingPunct="0">
        <a:spcBef>
          <a:spcPct val="0"/>
        </a:spcBef>
        <a:spcAft>
          <a:spcPct val="0"/>
        </a:spcAft>
        <a:defRPr sz="2400" b="1">
          <a:solidFill>
            <a:srgbClr val="007934"/>
          </a:solidFill>
          <a:latin typeface="Arial" pitchFamily="34" charset="0"/>
        </a:defRPr>
      </a:lvl5pPr>
      <a:lvl6pPr marL="457070" algn="l" rtl="0" fontAlgn="base">
        <a:spcBef>
          <a:spcPct val="0"/>
        </a:spcBef>
        <a:spcAft>
          <a:spcPct val="0"/>
        </a:spcAft>
        <a:defRPr sz="2400" b="1">
          <a:solidFill>
            <a:srgbClr val="007934"/>
          </a:solidFill>
          <a:latin typeface="Arial" pitchFamily="34" charset="0"/>
        </a:defRPr>
      </a:lvl6pPr>
      <a:lvl7pPr marL="914139" algn="l" rtl="0" fontAlgn="base">
        <a:spcBef>
          <a:spcPct val="0"/>
        </a:spcBef>
        <a:spcAft>
          <a:spcPct val="0"/>
        </a:spcAft>
        <a:defRPr sz="2400" b="1">
          <a:solidFill>
            <a:srgbClr val="007934"/>
          </a:solidFill>
          <a:latin typeface="Arial" pitchFamily="34" charset="0"/>
        </a:defRPr>
      </a:lvl7pPr>
      <a:lvl8pPr marL="1371208" algn="l" rtl="0" fontAlgn="base">
        <a:spcBef>
          <a:spcPct val="0"/>
        </a:spcBef>
        <a:spcAft>
          <a:spcPct val="0"/>
        </a:spcAft>
        <a:defRPr sz="2400" b="1">
          <a:solidFill>
            <a:srgbClr val="007934"/>
          </a:solidFill>
          <a:latin typeface="Arial" pitchFamily="34" charset="0"/>
        </a:defRPr>
      </a:lvl8pPr>
      <a:lvl9pPr marL="1828278" algn="l" rtl="0" fontAlgn="base">
        <a:spcBef>
          <a:spcPct val="0"/>
        </a:spcBef>
        <a:spcAft>
          <a:spcPct val="0"/>
        </a:spcAft>
        <a:defRPr sz="2400" b="1">
          <a:solidFill>
            <a:srgbClr val="007934"/>
          </a:solidFill>
          <a:latin typeface="Arial" pitchFamily="34" charset="0"/>
        </a:defRPr>
      </a:lvl9pPr>
    </p:titleStyle>
    <p:bodyStyle>
      <a:lvl1pPr marL="182511" indent="-182511" algn="l" rtl="0" eaLnBrk="0" fontAlgn="base" hangingPunct="0">
        <a:spcBef>
          <a:spcPts val="1925"/>
        </a:spcBef>
        <a:spcAft>
          <a:spcPct val="0"/>
        </a:spcAft>
        <a:buClr>
          <a:srgbClr val="007934"/>
        </a:buClr>
        <a:buFont typeface="Arial" charset="0"/>
        <a:buChar char="•"/>
        <a:defRPr sz="1600" kern="1200">
          <a:solidFill>
            <a:srgbClr val="787878"/>
          </a:solidFill>
          <a:latin typeface="Trebuchet MS" pitchFamily="34" charset="0"/>
          <a:ea typeface="+mn-ea"/>
          <a:cs typeface="Arial" pitchFamily="34" charset="0"/>
        </a:defRPr>
      </a:lvl1pPr>
      <a:lvl2pPr marL="355499" indent="-171401" algn="l" rtl="0" eaLnBrk="0" fontAlgn="base" hangingPunct="0">
        <a:lnSpc>
          <a:spcPct val="90000"/>
        </a:lnSpc>
        <a:spcBef>
          <a:spcPts val="763"/>
        </a:spcBef>
        <a:spcAft>
          <a:spcPct val="0"/>
        </a:spcAft>
        <a:buClr>
          <a:srgbClr val="007934"/>
        </a:buClr>
        <a:buFont typeface="Arial" charset="0"/>
        <a:buChar char="–"/>
        <a:defRPr sz="1600" kern="1200">
          <a:solidFill>
            <a:srgbClr val="787878"/>
          </a:solidFill>
          <a:latin typeface="Trebuchet MS" pitchFamily="34" charset="0"/>
          <a:ea typeface="+mn-ea"/>
          <a:cs typeface="Arial" pitchFamily="34" charset="0"/>
        </a:defRPr>
      </a:lvl2pPr>
      <a:lvl3pPr marL="538009" indent="-180923" algn="l" rtl="0" eaLnBrk="0" fontAlgn="base" hangingPunct="0">
        <a:lnSpc>
          <a:spcPct val="90000"/>
        </a:lnSpc>
        <a:spcBef>
          <a:spcPts val="763"/>
        </a:spcBef>
        <a:spcAft>
          <a:spcPct val="0"/>
        </a:spcAft>
        <a:buClr>
          <a:srgbClr val="007934"/>
        </a:buClr>
        <a:buFont typeface="Arial" charset="0"/>
        <a:buChar char="•"/>
        <a:defRPr sz="1600" kern="1200">
          <a:solidFill>
            <a:srgbClr val="787878"/>
          </a:solidFill>
          <a:latin typeface="Trebuchet MS" pitchFamily="34" charset="0"/>
          <a:ea typeface="+mn-ea"/>
          <a:cs typeface="Arial" pitchFamily="34" charset="0"/>
        </a:defRPr>
      </a:lvl3pPr>
      <a:lvl4pPr marL="718933" indent="-180923" algn="l" rtl="0" eaLnBrk="0" fontAlgn="base" hangingPunct="0">
        <a:lnSpc>
          <a:spcPct val="90000"/>
        </a:lnSpc>
        <a:spcBef>
          <a:spcPts val="763"/>
        </a:spcBef>
        <a:spcAft>
          <a:spcPct val="0"/>
        </a:spcAft>
        <a:buClr>
          <a:srgbClr val="007934"/>
        </a:buClr>
        <a:buFont typeface="Arial" charset="0"/>
        <a:buChar char="–"/>
        <a:defRPr sz="1600" kern="1200">
          <a:solidFill>
            <a:srgbClr val="787878"/>
          </a:solidFill>
          <a:latin typeface="Trebuchet MS" pitchFamily="34" charset="0"/>
          <a:ea typeface="+mn-ea"/>
          <a:cs typeface="Arial" pitchFamily="34" charset="0"/>
        </a:defRPr>
      </a:lvl4pPr>
      <a:lvl5pPr marL="898268" indent="-179336" algn="l" rtl="0" eaLnBrk="0" fontAlgn="base" hangingPunct="0">
        <a:lnSpc>
          <a:spcPct val="90000"/>
        </a:lnSpc>
        <a:spcBef>
          <a:spcPts val="763"/>
        </a:spcBef>
        <a:spcAft>
          <a:spcPct val="0"/>
        </a:spcAft>
        <a:buClr>
          <a:srgbClr val="007934"/>
        </a:buClr>
        <a:buFont typeface="Arial" charset="0"/>
        <a:buChar char="•"/>
        <a:defRPr sz="1600" kern="1200">
          <a:solidFill>
            <a:srgbClr val="787878"/>
          </a:solidFill>
          <a:latin typeface="Trebuchet MS" pitchFamily="34" charset="0"/>
          <a:ea typeface="+mn-ea"/>
          <a:cs typeface="Arial" pitchFamily="34" charset="0"/>
        </a:defRPr>
      </a:lvl5pPr>
      <a:lvl6pPr marL="2513883" indent="-228534" algn="l" defTabSz="9141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952" indent="-228534" algn="l" defTabSz="9141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022" indent="-228534" algn="l" defTabSz="9141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92" indent="-228534" algn="l" defTabSz="91413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39" rtl="0" eaLnBrk="1" latinLnBrk="0" hangingPunct="1">
        <a:defRPr sz="1800" kern="1200">
          <a:solidFill>
            <a:schemeClr val="tx1"/>
          </a:solidFill>
          <a:latin typeface="+mn-lt"/>
          <a:ea typeface="+mn-ea"/>
          <a:cs typeface="+mn-cs"/>
        </a:defRPr>
      </a:lvl1pPr>
      <a:lvl2pPr marL="457070" algn="l" defTabSz="914139" rtl="0" eaLnBrk="1" latinLnBrk="0" hangingPunct="1">
        <a:defRPr sz="1800" kern="1200">
          <a:solidFill>
            <a:schemeClr val="tx1"/>
          </a:solidFill>
          <a:latin typeface="+mn-lt"/>
          <a:ea typeface="+mn-ea"/>
          <a:cs typeface="+mn-cs"/>
        </a:defRPr>
      </a:lvl2pPr>
      <a:lvl3pPr marL="914139" algn="l" defTabSz="914139" rtl="0" eaLnBrk="1" latinLnBrk="0" hangingPunct="1">
        <a:defRPr sz="1800" kern="1200">
          <a:solidFill>
            <a:schemeClr val="tx1"/>
          </a:solidFill>
          <a:latin typeface="+mn-lt"/>
          <a:ea typeface="+mn-ea"/>
          <a:cs typeface="+mn-cs"/>
        </a:defRPr>
      </a:lvl3pPr>
      <a:lvl4pPr marL="1371208" algn="l" defTabSz="914139" rtl="0" eaLnBrk="1" latinLnBrk="0" hangingPunct="1">
        <a:defRPr sz="1800" kern="1200">
          <a:solidFill>
            <a:schemeClr val="tx1"/>
          </a:solidFill>
          <a:latin typeface="+mn-lt"/>
          <a:ea typeface="+mn-ea"/>
          <a:cs typeface="+mn-cs"/>
        </a:defRPr>
      </a:lvl4pPr>
      <a:lvl5pPr marL="1828278" algn="l" defTabSz="914139" rtl="0" eaLnBrk="1" latinLnBrk="0" hangingPunct="1">
        <a:defRPr sz="1800" kern="1200">
          <a:solidFill>
            <a:schemeClr val="tx1"/>
          </a:solidFill>
          <a:latin typeface="+mn-lt"/>
          <a:ea typeface="+mn-ea"/>
          <a:cs typeface="+mn-cs"/>
        </a:defRPr>
      </a:lvl5pPr>
      <a:lvl6pPr marL="2285348" algn="l" defTabSz="914139" rtl="0" eaLnBrk="1" latinLnBrk="0" hangingPunct="1">
        <a:defRPr sz="1800" kern="1200">
          <a:solidFill>
            <a:schemeClr val="tx1"/>
          </a:solidFill>
          <a:latin typeface="+mn-lt"/>
          <a:ea typeface="+mn-ea"/>
          <a:cs typeface="+mn-cs"/>
        </a:defRPr>
      </a:lvl6pPr>
      <a:lvl7pPr marL="2742417" algn="l" defTabSz="914139" rtl="0" eaLnBrk="1" latinLnBrk="0" hangingPunct="1">
        <a:defRPr sz="1800" kern="1200">
          <a:solidFill>
            <a:schemeClr val="tx1"/>
          </a:solidFill>
          <a:latin typeface="+mn-lt"/>
          <a:ea typeface="+mn-ea"/>
          <a:cs typeface="+mn-cs"/>
        </a:defRPr>
      </a:lvl7pPr>
      <a:lvl8pPr marL="3199487" algn="l" defTabSz="914139" rtl="0" eaLnBrk="1" latinLnBrk="0" hangingPunct="1">
        <a:defRPr sz="1800" kern="1200">
          <a:solidFill>
            <a:schemeClr val="tx1"/>
          </a:solidFill>
          <a:latin typeface="+mn-lt"/>
          <a:ea typeface="+mn-ea"/>
          <a:cs typeface="+mn-cs"/>
        </a:defRPr>
      </a:lvl8pPr>
      <a:lvl9pPr marL="3656556" algn="l" defTabSz="91413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s-ES" smtClean="0"/>
              <a:t>Haga clic para modificar el estilo de título del patrón</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98624D31-43A5-475A-80CF-332C9F6DCF35}" type="datetimeFigureOut">
              <a:rPr lang="en-US" dirty="0"/>
              <a:t>7/18/2024</a:t>
            </a:fld>
            <a:endParaRPr lang="en-US"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4FAB73BC-B049-4115-A692-8D63A059BFB8}" type="slidenum">
              <a:rPr lang="en-US" dirty="0"/>
              <a:pPr/>
              <a:t>‹Nº›</a:t>
            </a:fld>
            <a:endParaRPr lang="en-US" dirty="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1" name="Imagen 10"/>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225894623"/>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736" r:id="rId15"/>
    <p:sldLayoutId id="2147483738" r:id="rId16"/>
    <p:sldLayoutId id="2147483739" r:id="rId17"/>
    <p:sldLayoutId id="2147483740" r:id="rId18"/>
    <p:sldLayoutId id="2147483741" r:id="rId19"/>
    <p:sldLayoutId id="2147483742" r:id="rId20"/>
    <p:sldLayoutId id="2147483743" r:id="rId21"/>
    <p:sldLayoutId id="2147483745" r:id="rId22"/>
    <p:sldLayoutId id="2147483811" r:id="rId23"/>
    <p:sldLayoutId id="2147483812" r:id="rId24"/>
    <p:sldLayoutId id="2147483813" r:id="rId25"/>
    <p:sldLayoutId id="2147483814" r:id="rId26"/>
    <p:sldLayoutId id="2147483815" r:id="rId27"/>
    <p:sldLayoutId id="2147483816" r:id="rId28"/>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xml"/><Relationship Id="rId1" Type="http://schemas.openxmlformats.org/officeDocument/2006/relationships/slideLayout" Target="../slideLayouts/slideLayout64.xml"/></Relationships>
</file>

<file path=ppt/slides/_rels/slide10.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0.xml"/><Relationship Id="rId1" Type="http://schemas.openxmlformats.org/officeDocument/2006/relationships/slideLayout" Target="../slideLayouts/slideLayout59.xml"/><Relationship Id="rId4" Type="http://schemas.openxmlformats.org/officeDocument/2006/relationships/image" Target="../media/image36.png"/></Relationships>
</file>

<file path=ppt/slides/_rels/slide11.xml.rels><?xml version="1.0" encoding="UTF-8" standalone="yes"?>
<Relationships xmlns="http://schemas.openxmlformats.org/package/2006/relationships"><Relationship Id="rId8" Type="http://schemas.openxmlformats.org/officeDocument/2006/relationships/hyperlink" Target="https://www.youtube.com/watch?v=HfQFxluFix4" TargetMode="External"/><Relationship Id="rId3" Type="http://schemas.openxmlformats.org/officeDocument/2006/relationships/slide" Target="slide13.xml"/><Relationship Id="rId7"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59.xml"/><Relationship Id="rId6" Type="http://schemas.openxmlformats.org/officeDocument/2006/relationships/hyperlink" Target="https://www.youtube.com/watch?v=pM5hMGmqlpk" TargetMode="External"/><Relationship Id="rId5" Type="http://schemas.openxmlformats.org/officeDocument/2006/relationships/image" Target="../media/image37.png"/><Relationship Id="rId4" Type="http://schemas.openxmlformats.org/officeDocument/2006/relationships/hyperlink" Target="https://www.youtube.com/watch?v=kpLMoHjBWJg" TargetMode="External"/><Relationship Id="rId9"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2.xml"/><Relationship Id="rId1" Type="http://schemas.openxmlformats.org/officeDocument/2006/relationships/slideLayout" Target="../slideLayouts/slideLayout59.xml"/></Relationships>
</file>

<file path=ppt/slides/_rels/slide13.xml.rels><?xml version="1.0" encoding="UTF-8" standalone="yes"?>
<Relationships xmlns="http://schemas.openxmlformats.org/package/2006/relationships"><Relationship Id="rId3" Type="http://schemas.openxmlformats.org/officeDocument/2006/relationships/slide" Target="slide13.xml"/><Relationship Id="rId7" Type="http://schemas.openxmlformats.org/officeDocument/2006/relationships/image" Target="../media/image43.jpg"/><Relationship Id="rId2" Type="http://schemas.openxmlformats.org/officeDocument/2006/relationships/notesSlide" Target="../notesSlides/notesSlide13.xml"/><Relationship Id="rId1" Type="http://schemas.openxmlformats.org/officeDocument/2006/relationships/slideLayout" Target="../slideLayouts/slideLayout59.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64.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64.xml"/><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6.xml"/><Relationship Id="rId1" Type="http://schemas.openxmlformats.org/officeDocument/2006/relationships/slideLayout" Target="../slideLayouts/slideLayout64.xml"/></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64.xml"/></Relationships>
</file>

<file path=ppt/slides/_rels/slide18.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8.xml"/><Relationship Id="rId1" Type="http://schemas.openxmlformats.org/officeDocument/2006/relationships/slideLayout" Target="../slideLayouts/slideLayout64.xml"/><Relationship Id="rId4" Type="http://schemas.openxmlformats.org/officeDocument/2006/relationships/hyperlink" Target="https://www.informationmanagementtoday.com/trends/"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www.informationmanagementtoday.com/trends/" TargetMode="External"/><Relationship Id="rId2" Type="http://schemas.openxmlformats.org/officeDocument/2006/relationships/notesSlide" Target="../notesSlides/notesSlide19.xml"/><Relationship Id="rId1" Type="http://schemas.openxmlformats.org/officeDocument/2006/relationships/slideLayout" Target="../slideLayouts/slideLayout64.xml"/><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65.xml"/></Relationships>
</file>

<file path=ppt/slides/_rels/slide2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4.xml"/></Relationships>
</file>

<file path=ppt/slides/_rels/slide2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3.png"/><Relationship Id="rId1" Type="http://schemas.openxmlformats.org/officeDocument/2006/relationships/slideLayout" Target="../slideLayouts/slideLayout64.xml"/><Relationship Id="rId4" Type="http://schemas.openxmlformats.org/officeDocument/2006/relationships/hyperlink" Target="https://basededatos-uniciencia.wikispaces.com/"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3.png"/><Relationship Id="rId1" Type="http://schemas.openxmlformats.org/officeDocument/2006/relationships/slideLayout" Target="../slideLayouts/slideLayout64.xml"/></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hyperlink" Target="https://commons.wikimedia.org/wiki/File:Socialmedia-pm.png" TargetMode="External"/><Relationship Id="rId2" Type="http://schemas.openxmlformats.org/officeDocument/2006/relationships/image" Target="../media/image3.png"/><Relationship Id="rId1" Type="http://schemas.openxmlformats.org/officeDocument/2006/relationships/slideLayout" Target="../slideLayouts/slideLayout64.xml"/></Relationships>
</file>

<file path=ppt/slides/_rels/slide2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64.xml"/></Relationships>
</file>

<file path=ppt/slides/_rels/slide25.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20.xml"/><Relationship Id="rId1" Type="http://schemas.openxmlformats.org/officeDocument/2006/relationships/slideLayout" Target="../slideLayouts/slideLayout59.xml"/></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1.xml"/><Relationship Id="rId1" Type="http://schemas.openxmlformats.org/officeDocument/2006/relationships/slideLayout" Target="../slideLayouts/slideLayout59.xml"/><Relationship Id="rId4" Type="http://schemas.openxmlformats.org/officeDocument/2006/relationships/hyperlink" Target="https://s3.amazonaws.com/assets.datacamp.com/blog_assets/Data-Science-Periodic-Table.pdf"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2.xml"/><Relationship Id="rId1" Type="http://schemas.openxmlformats.org/officeDocument/2006/relationships/slideLayout" Target="../slideLayouts/slideLayout59.xml"/></Relationships>
</file>

<file path=ppt/slides/_rels/slide2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3.xml"/><Relationship Id="rId1" Type="http://schemas.openxmlformats.org/officeDocument/2006/relationships/slideLayout" Target="../slideLayouts/slideLayout59.xm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4.xml"/><Relationship Id="rId1" Type="http://schemas.openxmlformats.org/officeDocument/2006/relationships/slideLayout" Target="../slideLayouts/slideLayout59.xml"/><Relationship Id="rId4" Type="http://schemas.openxmlformats.org/officeDocument/2006/relationships/image" Target="../media/image60.png"/></Relationships>
</file>

<file path=ppt/slides/_rels/slide3.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3.xml"/><Relationship Id="rId1" Type="http://schemas.openxmlformats.org/officeDocument/2006/relationships/slideLayout" Target="../slideLayouts/slideLayout59.xml"/><Relationship Id="rId4" Type="http://schemas.openxmlformats.org/officeDocument/2006/relationships/image" Target="../media/image29.png"/></Relationships>
</file>

<file path=ppt/slides/_rels/slide3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5.xml"/><Relationship Id="rId1" Type="http://schemas.openxmlformats.org/officeDocument/2006/relationships/slideLayout" Target="../slideLayouts/slideLayout59.xml"/></Relationships>
</file>

<file path=ppt/slides/_rels/slide3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6.xml"/><Relationship Id="rId1" Type="http://schemas.openxmlformats.org/officeDocument/2006/relationships/slideLayout" Target="../slideLayouts/slideLayout59.xml"/></Relationships>
</file>

<file path=ppt/slides/_rels/slide3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7.xml"/><Relationship Id="rId1" Type="http://schemas.openxmlformats.org/officeDocument/2006/relationships/slideLayout" Target="../slideLayouts/slideLayout59.xml"/></Relationships>
</file>

<file path=ppt/slides/_rels/slide3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8.xml"/><Relationship Id="rId1" Type="http://schemas.openxmlformats.org/officeDocument/2006/relationships/slideLayout" Target="../slideLayouts/slideLayout59.xml"/><Relationship Id="rId4" Type="http://schemas.openxmlformats.org/officeDocument/2006/relationships/image" Target="../media/image65.png"/></Relationships>
</file>

<file path=ppt/slides/_rels/slide3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59.xml"/></Relationships>
</file>

<file path=ppt/slides/_rels/slide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9.xml"/><Relationship Id="rId1" Type="http://schemas.openxmlformats.org/officeDocument/2006/relationships/slideLayout" Target="../slideLayouts/slideLayout59.xml"/></Relationships>
</file>

<file path=ppt/slides/_rels/slide3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slide" Target="slide45.xml"/><Relationship Id="rId7" Type="http://schemas.openxmlformats.org/officeDocument/2006/relationships/diagramColors" Target="../diagrams/colors1.xml"/><Relationship Id="rId2" Type="http://schemas.openxmlformats.org/officeDocument/2006/relationships/notesSlide" Target="../notesSlides/notesSlide30.xml"/><Relationship Id="rId1" Type="http://schemas.openxmlformats.org/officeDocument/2006/relationships/slideLayout" Target="../slideLayouts/slideLayout59.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7.xml.rels><?xml version="1.0" encoding="UTF-8" standalone="yes"?>
<Relationships xmlns="http://schemas.openxmlformats.org/package/2006/relationships"><Relationship Id="rId3" Type="http://schemas.openxmlformats.org/officeDocument/2006/relationships/slide" Target="slide45.xml"/><Relationship Id="rId2" Type="http://schemas.openxmlformats.org/officeDocument/2006/relationships/notesSlide" Target="../notesSlides/notesSlide31.xml"/><Relationship Id="rId1" Type="http://schemas.openxmlformats.org/officeDocument/2006/relationships/slideLayout" Target="../slideLayouts/slideLayout59.xml"/><Relationship Id="rId4" Type="http://schemas.openxmlformats.org/officeDocument/2006/relationships/image" Target="../media/image67.gif"/></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2.xml"/><Relationship Id="rId1" Type="http://schemas.openxmlformats.org/officeDocument/2006/relationships/slideLayout" Target="../slideLayouts/slideLayout6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4.xml"/><Relationship Id="rId1" Type="http://schemas.openxmlformats.org/officeDocument/2006/relationships/slideLayout" Target="../slideLayouts/slideLayout59.xml"/><Relationship Id="rId4" Type="http://schemas.openxmlformats.org/officeDocument/2006/relationships/image" Target="../media/image30.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4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53.xml"/></Relationships>
</file>

<file path=ppt/slides/_rels/slide4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53.xml"/></Relationships>
</file>

<file path=ppt/slides/_rels/slide4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53.xml"/></Relationships>
</file>

<file path=ppt/slides/_rels/slide4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53.xml"/></Relationships>
</file>

<file path=ppt/slides/_rels/slide4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53.xml"/></Relationships>
</file>

<file path=ppt/slides/_rels/slide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3.xml"/><Relationship Id="rId1" Type="http://schemas.openxmlformats.org/officeDocument/2006/relationships/slideLayout" Target="../slideLayouts/slideLayout64.xml"/><Relationship Id="rId5" Type="http://schemas.openxmlformats.org/officeDocument/2006/relationships/image" Target="../media/image76.png"/><Relationship Id="rId4" Type="http://schemas.openxmlformats.org/officeDocument/2006/relationships/image" Target="../media/image75.png"/></Relationships>
</file>

<file path=ppt/slides/_rels/slide4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4.xml"/><Relationship Id="rId1" Type="http://schemas.openxmlformats.org/officeDocument/2006/relationships/slideLayout" Target="../slideLayouts/slideLayout64.xml"/><Relationship Id="rId5" Type="http://schemas.openxmlformats.org/officeDocument/2006/relationships/image" Target="../media/image3.png"/><Relationship Id="rId4" Type="http://schemas.openxmlformats.org/officeDocument/2006/relationships/image" Target="../media/image75.png"/></Relationships>
</file>

<file path=ppt/slides/_rels/slide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5.xml"/><Relationship Id="rId1" Type="http://schemas.openxmlformats.org/officeDocument/2006/relationships/slideLayout" Target="../slideLayouts/slideLayout64.xml"/><Relationship Id="rId5" Type="http://schemas.openxmlformats.org/officeDocument/2006/relationships/image" Target="../media/image75.png"/><Relationship Id="rId4" Type="http://schemas.openxmlformats.org/officeDocument/2006/relationships/image" Target="../media/image78.png"/></Relationships>
</file>

<file path=ppt/slides/_rels/slide4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6.xml"/><Relationship Id="rId1" Type="http://schemas.openxmlformats.org/officeDocument/2006/relationships/slideLayout" Target="../slideLayouts/slideLayout66.xml"/><Relationship Id="rId4" Type="http://schemas.openxmlformats.org/officeDocument/2006/relationships/image" Target="../media/image46.png"/></Relationships>
</file>

<file path=ppt/slides/_rels/slide5.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5.xml"/><Relationship Id="rId1" Type="http://schemas.openxmlformats.org/officeDocument/2006/relationships/slideLayout" Target="../slideLayouts/slideLayout59.xml"/><Relationship Id="rId4" Type="http://schemas.openxmlformats.org/officeDocument/2006/relationships/image" Target="../media/image31.png"/></Relationships>
</file>

<file path=ppt/slides/_rels/slide5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7.xml"/><Relationship Id="rId1" Type="http://schemas.openxmlformats.org/officeDocument/2006/relationships/slideLayout" Target="../slideLayouts/slideLayout66.xml"/></Relationships>
</file>

<file path=ppt/slides/_rels/slide5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8.xml"/><Relationship Id="rId1" Type="http://schemas.openxmlformats.org/officeDocument/2006/relationships/slideLayout" Target="../slideLayouts/slideLayout66.xml"/></Relationships>
</file>

<file path=ppt/slides/_rels/slide5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9.xml"/><Relationship Id="rId1" Type="http://schemas.openxmlformats.org/officeDocument/2006/relationships/slideLayout" Target="../slideLayouts/slideLayout66.xml"/></Relationships>
</file>

<file path=ppt/slides/_rels/slide6.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6.xml"/><Relationship Id="rId1" Type="http://schemas.openxmlformats.org/officeDocument/2006/relationships/slideLayout" Target="../slideLayouts/slideLayout59.xml"/><Relationship Id="rId4" Type="http://schemas.openxmlformats.org/officeDocument/2006/relationships/image" Target="../media/image32.png"/></Relationships>
</file>

<file path=ppt/slides/_rels/slide7.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7.xml"/><Relationship Id="rId1" Type="http://schemas.openxmlformats.org/officeDocument/2006/relationships/slideLayout" Target="../slideLayouts/slideLayout59.xml"/><Relationship Id="rId4" Type="http://schemas.openxmlformats.org/officeDocument/2006/relationships/image" Target="../media/image33.png"/></Relationships>
</file>

<file path=ppt/slides/_rels/slide8.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8.xml"/><Relationship Id="rId1" Type="http://schemas.openxmlformats.org/officeDocument/2006/relationships/slideLayout" Target="../slideLayouts/slideLayout59.xml"/><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9.xml"/><Relationship Id="rId1" Type="http://schemas.openxmlformats.org/officeDocument/2006/relationships/slideLayout" Target="../slideLayouts/slideLayout59.xml"/><Relationship Id="rId4"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4 Imagen"/>
          <p:cNvPicPr>
            <a:picLocks noChangeAspect="1"/>
          </p:cNvPicPr>
          <p:nvPr/>
        </p:nvPicPr>
        <p:blipFill rotWithShape="1">
          <a:blip r:embed="rId3">
            <a:extLst>
              <a:ext uri="{28A0092B-C50C-407E-A947-70E740481C1C}">
                <a14:useLocalDpi xmlns:a14="http://schemas.microsoft.com/office/drawing/2010/main" val="0"/>
              </a:ext>
            </a:extLst>
          </a:blip>
          <a:srcRect l="30500"/>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6 CuadroTexto"/>
          <p:cNvSpPr txBox="1"/>
          <p:nvPr/>
        </p:nvSpPr>
        <p:spPr>
          <a:xfrm>
            <a:off x="1989448" y="2479406"/>
            <a:ext cx="7811874" cy="1569660"/>
          </a:xfrm>
          <a:prstGeom prst="rect">
            <a:avLst/>
          </a:prstGeom>
        </p:spPr>
        <p:txBody>
          <a:bodyPr wrap="square" rtlCol="0">
            <a:spAutoFit/>
          </a:bodyPr>
          <a:lstStyle/>
          <a:p>
            <a:pPr algn="ctr">
              <a:spcBef>
                <a:spcPct val="0"/>
              </a:spcBef>
              <a:defRPr/>
            </a:pPr>
            <a:r>
              <a:rPr lang="es-ES" sz="4800" b="1" dirty="0" smtClean="0">
                <a:solidFill>
                  <a:schemeClr val="bg1"/>
                </a:solidFill>
                <a:latin typeface="Segoe Print" panose="02000600000000000000" pitchFamily="2" charset="0"/>
              </a:rPr>
              <a:t>Introducción al </a:t>
            </a:r>
            <a:r>
              <a:rPr lang="es-ES" sz="4800" b="1" dirty="0">
                <a:solidFill>
                  <a:schemeClr val="bg1"/>
                </a:solidFill>
                <a:latin typeface="Segoe Print" panose="02000600000000000000" pitchFamily="2" charset="0"/>
              </a:rPr>
              <a:t>aprendizaje de máquina</a:t>
            </a:r>
          </a:p>
        </p:txBody>
      </p:sp>
    </p:spTree>
    <p:extLst>
      <p:ext uri="{BB962C8B-B14F-4D97-AF65-F5344CB8AC3E}">
        <p14:creationId xmlns:p14="http://schemas.microsoft.com/office/powerpoint/2010/main" val="1538633233"/>
      </p:ext>
    </p:ext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a:extLst>
              <a:ext uri="{FF2B5EF4-FFF2-40B4-BE49-F238E27FC236}">
                <a16:creationId xmlns:a16="http://schemas.microsoft.com/office/drawing/2014/main" id="{C86440B3-58DF-4235-8981-CE33DBAF893C}"/>
              </a:ext>
            </a:extLst>
          </p:cNvPr>
          <p:cNvSpPr txBox="1">
            <a:spLocks/>
          </p:cNvSpPr>
          <p:nvPr/>
        </p:nvSpPr>
        <p:spPr>
          <a:xfrm>
            <a:off x="629966" y="302767"/>
            <a:ext cx="11062867"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marL="0" marR="0" lvl="0" indent="0" algn="l" defTabSz="914400" rtl="0" eaLnBrk="1" fontAlgn="auto" latinLnBrk="0" hangingPunct="1">
              <a:lnSpc>
                <a:spcPts val="4000"/>
              </a:lnSpc>
              <a:spcBef>
                <a:spcPct val="0"/>
              </a:spcBef>
              <a:spcAft>
                <a:spcPts val="0"/>
              </a:spcAft>
              <a:buClrTx/>
              <a:buSzTx/>
              <a:buFontTx/>
              <a:buNone/>
              <a:tabLst/>
              <a:defRPr/>
            </a:pPr>
            <a:r>
              <a:rPr lang="es-ES" sz="3200" dirty="0" smtClean="0">
                <a:solidFill>
                  <a:srgbClr val="62AC1E"/>
                </a:solidFill>
                <a:latin typeface="+mn-lt"/>
                <a:ea typeface="+mn-ea"/>
                <a:cs typeface="+mn-cs"/>
              </a:rPr>
              <a:t>Cómo aprende Stanley?</a:t>
            </a:r>
            <a:endParaRPr lang="es-ES" sz="3200" dirty="0">
              <a:solidFill>
                <a:srgbClr val="62AC1E"/>
              </a:solidFill>
              <a:latin typeface="+mn-lt"/>
              <a:ea typeface="+mn-ea"/>
              <a:cs typeface="+mn-cs"/>
            </a:endParaRPr>
          </a:p>
        </p:txBody>
      </p:sp>
      <p:sp>
        <p:nvSpPr>
          <p:cNvPr id="22" name="Rectángulo 21">
            <a:hlinkClick r:id="rId3" action="ppaction://hlinksldjump"/>
            <a:extLst>
              <a:ext uri="{FF2B5EF4-FFF2-40B4-BE49-F238E27FC236}">
                <a16:creationId xmlns:a16="http://schemas.microsoft.com/office/drawing/2014/main" id="{D74CF98F-7C90-458D-9C1B-84ACBD608615}"/>
              </a:ext>
            </a:extLst>
          </p:cNvPr>
          <p:cNvSpPr/>
          <p:nvPr/>
        </p:nvSpPr>
        <p:spPr>
          <a:xfrm>
            <a:off x="11126560" y="22705"/>
            <a:ext cx="942535" cy="534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2" name="Imagen 1"/>
          <p:cNvPicPr>
            <a:picLocks noChangeAspect="1"/>
          </p:cNvPicPr>
          <p:nvPr/>
        </p:nvPicPr>
        <p:blipFill>
          <a:blip r:embed="rId4"/>
          <a:stretch>
            <a:fillRect/>
          </a:stretch>
        </p:blipFill>
        <p:spPr>
          <a:xfrm>
            <a:off x="1242441" y="1233952"/>
            <a:ext cx="9884119" cy="4124111"/>
          </a:xfrm>
          <a:prstGeom prst="rect">
            <a:avLst/>
          </a:prstGeom>
        </p:spPr>
      </p:pic>
    </p:spTree>
    <p:extLst>
      <p:ext uri="{BB962C8B-B14F-4D97-AF65-F5344CB8AC3E}">
        <p14:creationId xmlns:p14="http://schemas.microsoft.com/office/powerpoint/2010/main" val="165174653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a:extLst>
              <a:ext uri="{FF2B5EF4-FFF2-40B4-BE49-F238E27FC236}">
                <a16:creationId xmlns:a16="http://schemas.microsoft.com/office/drawing/2014/main" id="{C86440B3-58DF-4235-8981-CE33DBAF893C}"/>
              </a:ext>
            </a:extLst>
          </p:cNvPr>
          <p:cNvSpPr txBox="1">
            <a:spLocks/>
          </p:cNvSpPr>
          <p:nvPr/>
        </p:nvSpPr>
        <p:spPr>
          <a:xfrm>
            <a:off x="629966" y="302767"/>
            <a:ext cx="11062867"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marL="0" marR="0" lvl="0" indent="0" algn="l" defTabSz="914400" rtl="0" eaLnBrk="1" fontAlgn="auto" latinLnBrk="0" hangingPunct="1">
              <a:lnSpc>
                <a:spcPts val="4000"/>
              </a:lnSpc>
              <a:spcBef>
                <a:spcPct val="0"/>
              </a:spcBef>
              <a:spcAft>
                <a:spcPts val="0"/>
              </a:spcAft>
              <a:buClrTx/>
              <a:buSzTx/>
              <a:buFontTx/>
              <a:buNone/>
              <a:tabLst/>
              <a:defRPr/>
            </a:pPr>
            <a:r>
              <a:rPr lang="es-ES" sz="3200" dirty="0" smtClean="0">
                <a:solidFill>
                  <a:srgbClr val="62AC1E"/>
                </a:solidFill>
                <a:latin typeface="+mn-lt"/>
                <a:ea typeface="+mn-ea"/>
                <a:cs typeface="+mn-cs"/>
              </a:rPr>
              <a:t>3 casos exitosos (entre muchos) de Aprendizaje de Máquina</a:t>
            </a:r>
            <a:endParaRPr lang="es-ES" sz="3200" dirty="0">
              <a:solidFill>
                <a:srgbClr val="62AC1E"/>
              </a:solidFill>
              <a:latin typeface="+mn-lt"/>
              <a:ea typeface="+mn-ea"/>
              <a:cs typeface="+mn-cs"/>
            </a:endParaRPr>
          </a:p>
        </p:txBody>
      </p:sp>
      <p:sp>
        <p:nvSpPr>
          <p:cNvPr id="22" name="Rectángulo 21">
            <a:hlinkClick r:id="rId3" action="ppaction://hlinksldjump"/>
            <a:extLst>
              <a:ext uri="{FF2B5EF4-FFF2-40B4-BE49-F238E27FC236}">
                <a16:creationId xmlns:a16="http://schemas.microsoft.com/office/drawing/2014/main" id="{D74CF98F-7C90-458D-9C1B-84ACBD608615}"/>
              </a:ext>
            </a:extLst>
          </p:cNvPr>
          <p:cNvSpPr/>
          <p:nvPr/>
        </p:nvSpPr>
        <p:spPr>
          <a:xfrm>
            <a:off x="11126560" y="22705"/>
            <a:ext cx="942535" cy="534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6" name="Imagen 5">
            <a:hlinkClick r:id="rId4"/>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78618" y="1521995"/>
            <a:ext cx="2857500" cy="1600200"/>
          </a:xfrm>
          <a:prstGeom prst="rect">
            <a:avLst/>
          </a:prstGeom>
        </p:spPr>
      </p:pic>
      <p:pic>
        <p:nvPicPr>
          <p:cNvPr id="7" name="Imagen 6">
            <a:hlinkClick r:id="rId6"/>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96752" y="1521995"/>
            <a:ext cx="4025817" cy="1502825"/>
          </a:xfrm>
          <a:prstGeom prst="rect">
            <a:avLst/>
          </a:prstGeom>
        </p:spPr>
      </p:pic>
      <p:pic>
        <p:nvPicPr>
          <p:cNvPr id="9" name="Imagen 8">
            <a:hlinkClick r:id="rId8"/>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835066" y="3346784"/>
            <a:ext cx="3655236" cy="1931068"/>
          </a:xfrm>
          <a:prstGeom prst="rect">
            <a:avLst/>
          </a:prstGeom>
        </p:spPr>
      </p:pic>
    </p:spTree>
    <p:extLst>
      <p:ext uri="{BB962C8B-B14F-4D97-AF65-F5344CB8AC3E}">
        <p14:creationId xmlns:p14="http://schemas.microsoft.com/office/powerpoint/2010/main" val="415745039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a:extLst>
              <a:ext uri="{FF2B5EF4-FFF2-40B4-BE49-F238E27FC236}">
                <a16:creationId xmlns:a16="http://schemas.microsoft.com/office/drawing/2014/main" id="{C86440B3-58DF-4235-8981-CE33DBAF893C}"/>
              </a:ext>
            </a:extLst>
          </p:cNvPr>
          <p:cNvSpPr txBox="1">
            <a:spLocks/>
          </p:cNvSpPr>
          <p:nvPr/>
        </p:nvSpPr>
        <p:spPr>
          <a:xfrm>
            <a:off x="629966" y="302767"/>
            <a:ext cx="11062867"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marL="0" marR="0" lvl="0" indent="0" algn="l" defTabSz="914400" rtl="0" eaLnBrk="1" fontAlgn="auto" latinLnBrk="0" hangingPunct="1">
              <a:lnSpc>
                <a:spcPts val="4000"/>
              </a:lnSpc>
              <a:spcBef>
                <a:spcPct val="0"/>
              </a:spcBef>
              <a:spcAft>
                <a:spcPts val="0"/>
              </a:spcAft>
              <a:buClrTx/>
              <a:buSzTx/>
              <a:buFontTx/>
              <a:buNone/>
              <a:tabLst/>
              <a:defRPr/>
            </a:pPr>
            <a:r>
              <a:rPr lang="es-ES" sz="3200" dirty="0" smtClean="0">
                <a:solidFill>
                  <a:srgbClr val="62AC1E"/>
                </a:solidFill>
                <a:latin typeface="+mn-lt"/>
                <a:ea typeface="+mn-ea"/>
                <a:cs typeface="+mn-cs"/>
              </a:rPr>
              <a:t>Dos hitos en el desarrollo de la Inteligencia Artificial</a:t>
            </a:r>
            <a:endParaRPr lang="es-ES" sz="3200" dirty="0">
              <a:solidFill>
                <a:srgbClr val="62AC1E"/>
              </a:solidFill>
              <a:latin typeface="+mn-lt"/>
              <a:ea typeface="+mn-ea"/>
              <a:cs typeface="+mn-cs"/>
            </a:endParaRPr>
          </a:p>
        </p:txBody>
      </p:sp>
      <p:sp>
        <p:nvSpPr>
          <p:cNvPr id="22" name="Rectángulo 21">
            <a:hlinkClick r:id="rId3" action="ppaction://hlinksldjump"/>
            <a:extLst>
              <a:ext uri="{FF2B5EF4-FFF2-40B4-BE49-F238E27FC236}">
                <a16:creationId xmlns:a16="http://schemas.microsoft.com/office/drawing/2014/main" id="{D74CF98F-7C90-458D-9C1B-84ACBD608615}"/>
              </a:ext>
            </a:extLst>
          </p:cNvPr>
          <p:cNvSpPr/>
          <p:nvPr/>
        </p:nvSpPr>
        <p:spPr>
          <a:xfrm>
            <a:off x="11126560" y="22705"/>
            <a:ext cx="942535" cy="534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Tree>
    <p:extLst>
      <p:ext uri="{BB962C8B-B14F-4D97-AF65-F5344CB8AC3E}">
        <p14:creationId xmlns:p14="http://schemas.microsoft.com/office/powerpoint/2010/main" val="223990327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a:extLst>
              <a:ext uri="{FF2B5EF4-FFF2-40B4-BE49-F238E27FC236}">
                <a16:creationId xmlns:a16="http://schemas.microsoft.com/office/drawing/2014/main" id="{C86440B3-58DF-4235-8981-CE33DBAF893C}"/>
              </a:ext>
            </a:extLst>
          </p:cNvPr>
          <p:cNvSpPr txBox="1">
            <a:spLocks/>
          </p:cNvSpPr>
          <p:nvPr/>
        </p:nvSpPr>
        <p:spPr>
          <a:xfrm>
            <a:off x="629966" y="302767"/>
            <a:ext cx="11062867"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marL="0" marR="0" lvl="0" indent="0" algn="l" defTabSz="914400" rtl="0" eaLnBrk="1" fontAlgn="auto" latinLnBrk="0" hangingPunct="1">
              <a:lnSpc>
                <a:spcPts val="4000"/>
              </a:lnSpc>
              <a:spcBef>
                <a:spcPct val="0"/>
              </a:spcBef>
              <a:spcAft>
                <a:spcPts val="0"/>
              </a:spcAft>
              <a:buClrTx/>
              <a:buSzTx/>
              <a:buFontTx/>
              <a:buNone/>
              <a:tabLst/>
              <a:defRPr/>
            </a:pPr>
            <a:r>
              <a:rPr lang="es-ES" sz="3200" dirty="0">
                <a:solidFill>
                  <a:srgbClr val="62AC1E"/>
                </a:solidFill>
                <a:latin typeface="+mn-lt"/>
                <a:ea typeface="+mn-ea"/>
                <a:cs typeface="+mn-cs"/>
              </a:rPr>
              <a:t>Conceptos</a:t>
            </a:r>
            <a:r>
              <a:rPr lang="es-ES" sz="3200" dirty="0"/>
              <a:t> </a:t>
            </a:r>
            <a:r>
              <a:rPr lang="es-ES" sz="3200" dirty="0">
                <a:solidFill>
                  <a:srgbClr val="62AC1E"/>
                </a:solidFill>
                <a:latin typeface="+mn-lt"/>
                <a:ea typeface="+mn-ea"/>
                <a:cs typeface="+mn-cs"/>
              </a:rPr>
              <a:t>básicos</a:t>
            </a:r>
          </a:p>
        </p:txBody>
      </p:sp>
      <p:sp>
        <p:nvSpPr>
          <p:cNvPr id="22" name="Rectángulo 21">
            <a:hlinkClick r:id="rId3" action="ppaction://hlinksldjump"/>
            <a:extLst>
              <a:ext uri="{FF2B5EF4-FFF2-40B4-BE49-F238E27FC236}">
                <a16:creationId xmlns:a16="http://schemas.microsoft.com/office/drawing/2014/main" id="{D74CF98F-7C90-458D-9C1B-84ACBD608615}"/>
              </a:ext>
            </a:extLst>
          </p:cNvPr>
          <p:cNvSpPr/>
          <p:nvPr/>
        </p:nvSpPr>
        <p:spPr>
          <a:xfrm>
            <a:off x="11126560" y="22705"/>
            <a:ext cx="942535" cy="534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24" name="Imagen 23">
            <a:extLst>
              <a:ext uri="{FF2B5EF4-FFF2-40B4-BE49-F238E27FC236}">
                <a16:creationId xmlns:a16="http://schemas.microsoft.com/office/drawing/2014/main" id="{589AA3B8-3D4B-46C6-B502-DC2A37CED06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84425" y="2745795"/>
            <a:ext cx="1293749" cy="1293749"/>
          </a:xfrm>
          <a:prstGeom prst="rect">
            <a:avLst/>
          </a:prstGeom>
        </p:spPr>
      </p:pic>
      <p:sp>
        <p:nvSpPr>
          <p:cNvPr id="28" name="Rectángulo 27">
            <a:extLst>
              <a:ext uri="{FF2B5EF4-FFF2-40B4-BE49-F238E27FC236}">
                <a16:creationId xmlns:a16="http://schemas.microsoft.com/office/drawing/2014/main" id="{FA4C8857-0526-4E4B-A61B-272534D52A3B}"/>
              </a:ext>
            </a:extLst>
          </p:cNvPr>
          <p:cNvSpPr/>
          <p:nvPr/>
        </p:nvSpPr>
        <p:spPr>
          <a:xfrm>
            <a:off x="2923247" y="1023098"/>
            <a:ext cx="2719740" cy="523220"/>
          </a:xfrm>
          <a:prstGeom prst="rect">
            <a:avLst/>
          </a:prstGeom>
        </p:spPr>
        <p:txBody>
          <a:bodyPr wrap="none">
            <a:spAutoFit/>
          </a:bodyPr>
          <a:lstStyle/>
          <a:p>
            <a:r>
              <a:rPr lang="x-none" sz="2800" b="1" dirty="0">
                <a:solidFill>
                  <a:srgbClr val="62AC1E"/>
                </a:solidFill>
              </a:rPr>
              <a:t>Minería de datos</a:t>
            </a:r>
            <a:endParaRPr lang="x-none" sz="2800" dirty="0"/>
          </a:p>
        </p:txBody>
      </p:sp>
      <p:sp>
        <p:nvSpPr>
          <p:cNvPr id="31" name="Rectángulo 30">
            <a:extLst>
              <a:ext uri="{FF2B5EF4-FFF2-40B4-BE49-F238E27FC236}">
                <a16:creationId xmlns:a16="http://schemas.microsoft.com/office/drawing/2014/main" id="{66D499DB-131C-41C6-8CB0-D0D6CAE4AC9B}"/>
              </a:ext>
            </a:extLst>
          </p:cNvPr>
          <p:cNvSpPr/>
          <p:nvPr/>
        </p:nvSpPr>
        <p:spPr>
          <a:xfrm>
            <a:off x="2813150" y="1614308"/>
            <a:ext cx="2717643" cy="769441"/>
          </a:xfrm>
          <a:prstGeom prst="rect">
            <a:avLst/>
          </a:prstGeom>
        </p:spPr>
        <p:txBody>
          <a:bodyPr wrap="square">
            <a:spAutoFit/>
          </a:bodyPr>
          <a:lstStyle/>
          <a:p>
            <a:r>
              <a:rPr lang="x-none" sz="2200" dirty="0">
                <a:solidFill>
                  <a:srgbClr val="5F5F5F"/>
                </a:solidFill>
              </a:rPr>
              <a:t>Proceso de descubrir patrones en los datos</a:t>
            </a:r>
          </a:p>
        </p:txBody>
      </p:sp>
      <p:sp>
        <p:nvSpPr>
          <p:cNvPr id="33" name="Rectángulo 32">
            <a:extLst>
              <a:ext uri="{FF2B5EF4-FFF2-40B4-BE49-F238E27FC236}">
                <a16:creationId xmlns:a16="http://schemas.microsoft.com/office/drawing/2014/main" id="{B932FC53-83F4-469A-B86A-830278CA340E}"/>
              </a:ext>
            </a:extLst>
          </p:cNvPr>
          <p:cNvSpPr/>
          <p:nvPr/>
        </p:nvSpPr>
        <p:spPr>
          <a:xfrm>
            <a:off x="6720673" y="1024398"/>
            <a:ext cx="1969334" cy="954107"/>
          </a:xfrm>
          <a:prstGeom prst="rect">
            <a:avLst/>
          </a:prstGeom>
        </p:spPr>
        <p:txBody>
          <a:bodyPr wrap="none">
            <a:spAutoFit/>
          </a:bodyPr>
          <a:lstStyle/>
          <a:p>
            <a:r>
              <a:rPr lang="es-CO" sz="2800" b="1" dirty="0">
                <a:solidFill>
                  <a:srgbClr val="62AC1E"/>
                </a:solidFill>
              </a:rPr>
              <a:t>Aprendizaje </a:t>
            </a:r>
          </a:p>
          <a:p>
            <a:r>
              <a:rPr lang="es-CO" sz="2800" b="1" dirty="0">
                <a:solidFill>
                  <a:srgbClr val="62AC1E"/>
                </a:solidFill>
              </a:rPr>
              <a:t>de máquina</a:t>
            </a:r>
            <a:endParaRPr lang="x-none" sz="2800" dirty="0"/>
          </a:p>
        </p:txBody>
      </p:sp>
      <p:sp>
        <p:nvSpPr>
          <p:cNvPr id="36" name="Rectángulo 35">
            <a:extLst>
              <a:ext uri="{FF2B5EF4-FFF2-40B4-BE49-F238E27FC236}">
                <a16:creationId xmlns:a16="http://schemas.microsoft.com/office/drawing/2014/main" id="{D30AABB8-DE12-482C-BD2A-1D0784BD1506}"/>
              </a:ext>
            </a:extLst>
          </p:cNvPr>
          <p:cNvSpPr/>
          <p:nvPr/>
        </p:nvSpPr>
        <p:spPr>
          <a:xfrm>
            <a:off x="6625272" y="2140672"/>
            <a:ext cx="3859663" cy="1785104"/>
          </a:xfrm>
          <a:prstGeom prst="rect">
            <a:avLst/>
          </a:prstGeom>
        </p:spPr>
        <p:txBody>
          <a:bodyPr wrap="square">
            <a:spAutoFit/>
          </a:bodyPr>
          <a:lstStyle/>
          <a:p>
            <a:pPr algn="just"/>
            <a:r>
              <a:rPr lang="es-ES" sz="2200" dirty="0">
                <a:solidFill>
                  <a:srgbClr val="5F5F5F"/>
                </a:solidFill>
              </a:rPr>
              <a:t>Campo de estudio que proporciona a los computadores la capacidad de aprender sin haber </a:t>
            </a:r>
            <a:r>
              <a:rPr lang="es-CO" sz="2200" dirty="0">
                <a:solidFill>
                  <a:srgbClr val="5F5F5F"/>
                </a:solidFill>
              </a:rPr>
              <a:t>sido explícitamente programados.</a:t>
            </a:r>
          </a:p>
        </p:txBody>
      </p:sp>
      <p:sp>
        <p:nvSpPr>
          <p:cNvPr id="37" name="Rectángulo 36">
            <a:extLst>
              <a:ext uri="{FF2B5EF4-FFF2-40B4-BE49-F238E27FC236}">
                <a16:creationId xmlns:a16="http://schemas.microsoft.com/office/drawing/2014/main" id="{FDA5ECF7-6E7D-4528-8189-84DA16EBA9D7}"/>
              </a:ext>
            </a:extLst>
          </p:cNvPr>
          <p:cNvSpPr/>
          <p:nvPr/>
        </p:nvSpPr>
        <p:spPr>
          <a:xfrm>
            <a:off x="3746316" y="3022189"/>
            <a:ext cx="1800153" cy="523220"/>
          </a:xfrm>
          <a:prstGeom prst="rect">
            <a:avLst/>
          </a:prstGeom>
        </p:spPr>
        <p:txBody>
          <a:bodyPr wrap="square">
            <a:spAutoFit/>
          </a:bodyPr>
          <a:lstStyle/>
          <a:p>
            <a:r>
              <a:rPr lang="x-none" sz="2800" b="1" dirty="0">
                <a:solidFill>
                  <a:srgbClr val="62AC1E"/>
                </a:solidFill>
              </a:rPr>
              <a:t>Ciencia </a:t>
            </a:r>
            <a:endParaRPr lang="es-ES_tradnl" sz="2800" b="1" dirty="0">
              <a:solidFill>
                <a:srgbClr val="62AC1E"/>
              </a:solidFill>
            </a:endParaRPr>
          </a:p>
          <a:p>
            <a:r>
              <a:rPr lang="x-none" sz="2800" b="1" dirty="0">
                <a:solidFill>
                  <a:srgbClr val="62AC1E"/>
                </a:solidFill>
              </a:rPr>
              <a:t>de datos</a:t>
            </a:r>
            <a:endParaRPr lang="x-none" sz="2800" dirty="0"/>
          </a:p>
        </p:txBody>
      </p:sp>
      <p:sp>
        <p:nvSpPr>
          <p:cNvPr id="38" name="Rectángulo 37">
            <a:extLst>
              <a:ext uri="{FF2B5EF4-FFF2-40B4-BE49-F238E27FC236}">
                <a16:creationId xmlns:a16="http://schemas.microsoft.com/office/drawing/2014/main" id="{D26961B8-E7EC-42C8-8579-8DA51AB66B67}"/>
              </a:ext>
            </a:extLst>
          </p:cNvPr>
          <p:cNvSpPr/>
          <p:nvPr/>
        </p:nvSpPr>
        <p:spPr>
          <a:xfrm>
            <a:off x="2677457" y="3997710"/>
            <a:ext cx="3307988" cy="1785104"/>
          </a:xfrm>
          <a:prstGeom prst="rect">
            <a:avLst/>
          </a:prstGeom>
        </p:spPr>
        <p:txBody>
          <a:bodyPr wrap="square">
            <a:spAutoFit/>
          </a:bodyPr>
          <a:lstStyle/>
          <a:p>
            <a:pPr algn="just"/>
            <a:r>
              <a:rPr lang="x-none" sz="2200" dirty="0">
                <a:solidFill>
                  <a:srgbClr val="5F5F5F"/>
                </a:solidFill>
              </a:rPr>
              <a:t>Integra varias disciplinas e incluye aprendizaje de máquina y minería de datos para convertir datos en valor para los negocios.</a:t>
            </a:r>
            <a:endParaRPr lang="es-CO" sz="2200" dirty="0">
              <a:solidFill>
                <a:srgbClr val="5F5F5F"/>
              </a:solidFill>
            </a:endParaRPr>
          </a:p>
        </p:txBody>
      </p:sp>
      <p:pic>
        <p:nvPicPr>
          <p:cNvPr id="39" name="Imagen 38" descr="elementos-02.png">
            <a:extLst>
              <a:ext uri="{FF2B5EF4-FFF2-40B4-BE49-F238E27FC236}">
                <a16:creationId xmlns:a16="http://schemas.microsoft.com/office/drawing/2014/main" id="{995E0B00-0A73-4424-89C2-3E3B290C5C6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050352" y="1098768"/>
            <a:ext cx="3819352" cy="1831445"/>
          </a:xfrm>
          <a:prstGeom prst="rect">
            <a:avLst/>
          </a:prstGeom>
        </p:spPr>
      </p:pic>
      <p:pic>
        <p:nvPicPr>
          <p:cNvPr id="41" name="Imagen 40" descr="elementos-02.png">
            <a:extLst>
              <a:ext uri="{FF2B5EF4-FFF2-40B4-BE49-F238E27FC236}">
                <a16:creationId xmlns:a16="http://schemas.microsoft.com/office/drawing/2014/main" id="{74E4FC04-FBAE-4417-B6D9-0621FD3C3C8E}"/>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7495" t="25222" r="1346" b="13507"/>
          <a:stretch/>
        </p:blipFill>
        <p:spPr>
          <a:xfrm>
            <a:off x="2384425" y="3939379"/>
            <a:ext cx="3758263" cy="2192424"/>
          </a:xfrm>
          <a:prstGeom prst="rect">
            <a:avLst/>
          </a:prstGeom>
        </p:spPr>
      </p:pic>
      <p:pic>
        <p:nvPicPr>
          <p:cNvPr id="40" name="Imagen 39" descr="elementos-02.png">
            <a:extLst>
              <a:ext uri="{FF2B5EF4-FFF2-40B4-BE49-F238E27FC236}">
                <a16:creationId xmlns:a16="http://schemas.microsoft.com/office/drawing/2014/main" id="{B3C4E598-EADF-4B7D-B11A-67BB161A793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7495" t="25222" r="1346" b="13507"/>
          <a:stretch/>
        </p:blipFill>
        <p:spPr>
          <a:xfrm>
            <a:off x="6496680" y="2082095"/>
            <a:ext cx="4248649" cy="2342447"/>
          </a:xfrm>
          <a:prstGeom prst="rect">
            <a:avLst/>
          </a:prstGeom>
        </p:spPr>
      </p:pic>
      <p:pic>
        <p:nvPicPr>
          <p:cNvPr id="42" name="Imagen 41">
            <a:extLst>
              <a:ext uri="{FF2B5EF4-FFF2-40B4-BE49-F238E27FC236}">
                <a16:creationId xmlns:a16="http://schemas.microsoft.com/office/drawing/2014/main" id="{56096468-E594-4D25-849A-D1EE1C18C6E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016568" y="829682"/>
            <a:ext cx="922445" cy="922445"/>
          </a:xfrm>
          <a:prstGeom prst="rect">
            <a:avLst/>
          </a:prstGeom>
        </p:spPr>
      </p:pic>
      <p:pic>
        <p:nvPicPr>
          <p:cNvPr id="43" name="Imagen 42">
            <a:extLst>
              <a:ext uri="{FF2B5EF4-FFF2-40B4-BE49-F238E27FC236}">
                <a16:creationId xmlns:a16="http://schemas.microsoft.com/office/drawing/2014/main" id="{D978C9E1-BEBD-40A0-A6DF-6012359B3648}"/>
              </a:ext>
            </a:extLst>
          </p:cNvPr>
          <p:cNvPicPr>
            <a:picLocks noChangeAspect="1"/>
          </p:cNvPicPr>
          <p:nvPr/>
        </p:nvPicPr>
        <p:blipFill rotWithShape="1">
          <a:blip r:embed="rId7">
            <a:extLst>
              <a:ext uri="{28A0092B-C50C-407E-A947-70E740481C1C}">
                <a14:useLocalDpi xmlns:a14="http://schemas.microsoft.com/office/drawing/2010/main" val="0"/>
              </a:ext>
            </a:extLst>
          </a:blip>
          <a:srcRect b="28874"/>
          <a:stretch/>
        </p:blipFill>
        <p:spPr>
          <a:xfrm>
            <a:off x="8918457" y="731935"/>
            <a:ext cx="1698472" cy="1208058"/>
          </a:xfrm>
          <a:prstGeom prst="rect">
            <a:avLst/>
          </a:prstGeom>
        </p:spPr>
      </p:pic>
    </p:spTree>
    <p:extLst>
      <p:ext uri="{BB962C8B-B14F-4D97-AF65-F5344CB8AC3E}">
        <p14:creationId xmlns:p14="http://schemas.microsoft.com/office/powerpoint/2010/main" val="212803697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1 Título">
            <a:extLst>
              <a:ext uri="{FF2B5EF4-FFF2-40B4-BE49-F238E27FC236}">
                <a16:creationId xmlns:a16="http://schemas.microsoft.com/office/drawing/2014/main" id="{A189F287-9A1F-476B-B40E-08606675DCC1}"/>
              </a:ext>
            </a:extLst>
          </p:cNvPr>
          <p:cNvSpPr txBox="1">
            <a:spLocks/>
          </p:cNvSpPr>
          <p:nvPr/>
        </p:nvSpPr>
        <p:spPr>
          <a:xfrm>
            <a:off x="669235" y="361831"/>
            <a:ext cx="10876612"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algn="l">
              <a:defRPr/>
            </a:pPr>
            <a:r>
              <a:rPr lang="es-CO" sz="3200" dirty="0">
                <a:solidFill>
                  <a:srgbClr val="62AC1E"/>
                </a:solidFill>
                <a:latin typeface="+mn-lt"/>
                <a:ea typeface="+mn-ea"/>
                <a:cs typeface="+mn-cs"/>
              </a:rPr>
              <a:t>Conceptos básicos</a:t>
            </a:r>
          </a:p>
          <a:p>
            <a:pPr algn="l">
              <a:defRPr/>
            </a:pPr>
            <a:endParaRPr lang="es-ES" sz="2800" dirty="0">
              <a:solidFill>
                <a:srgbClr val="62AC1E"/>
              </a:solidFill>
              <a:latin typeface="+mn-lt"/>
              <a:ea typeface="+mn-ea"/>
              <a:cs typeface="+mn-cs"/>
            </a:endParaRPr>
          </a:p>
        </p:txBody>
      </p:sp>
      <p:grpSp>
        <p:nvGrpSpPr>
          <p:cNvPr id="4" name="Grupo 3"/>
          <p:cNvGrpSpPr/>
          <p:nvPr/>
        </p:nvGrpSpPr>
        <p:grpSpPr>
          <a:xfrm>
            <a:off x="1322132" y="1326219"/>
            <a:ext cx="9270840" cy="4511873"/>
            <a:chOff x="1322132" y="1326219"/>
            <a:chExt cx="9270840" cy="4511873"/>
          </a:xfrm>
        </p:grpSpPr>
        <p:pic>
          <p:nvPicPr>
            <p:cNvPr id="3" name="Imagen 2"/>
            <p:cNvPicPr>
              <a:picLocks noChangeAspect="1"/>
            </p:cNvPicPr>
            <p:nvPr/>
          </p:nvPicPr>
          <p:blipFill rotWithShape="1">
            <a:blip r:embed="rId3">
              <a:extLst>
                <a:ext uri="{28A0092B-C50C-407E-A947-70E740481C1C}">
                  <a14:useLocalDpi xmlns:a14="http://schemas.microsoft.com/office/drawing/2010/main" val="0"/>
                </a:ext>
              </a:extLst>
            </a:blip>
            <a:srcRect t="8251" b="5731"/>
            <a:stretch/>
          </p:blipFill>
          <p:spPr>
            <a:xfrm>
              <a:off x="1322132" y="1326219"/>
              <a:ext cx="9270840" cy="4511873"/>
            </a:xfrm>
            <a:prstGeom prst="rect">
              <a:avLst/>
            </a:prstGeom>
          </p:spPr>
        </p:pic>
        <p:sp>
          <p:nvSpPr>
            <p:cNvPr id="30" name="CuadroTexto 29"/>
            <p:cNvSpPr txBox="1"/>
            <p:nvPr/>
          </p:nvSpPr>
          <p:spPr>
            <a:xfrm>
              <a:off x="2208627" y="3837319"/>
              <a:ext cx="1547447" cy="1692771"/>
            </a:xfrm>
            <a:prstGeom prst="rect">
              <a:avLst/>
            </a:prstGeom>
            <a:solidFill>
              <a:schemeClr val="bg1"/>
            </a:solidFill>
          </p:spPr>
          <p:txBody>
            <a:bodyPr wrap="square" rtlCol="0">
              <a:spAutoFit/>
            </a:bodyPr>
            <a:lstStyle/>
            <a:p>
              <a:r>
                <a:rPr lang="es-CO" dirty="0">
                  <a:solidFill>
                    <a:srgbClr val="4A5C65"/>
                  </a:solidFill>
                  <a:ea typeface="Lato Light"/>
                  <a:cs typeface="Lato Light"/>
                </a:rPr>
                <a:t>Analiza e interpreta lo que ha </a:t>
              </a:r>
              <a:r>
                <a:rPr lang="es-CO" dirty="0">
                  <a:solidFill>
                    <a:srgbClr val="4A5C65"/>
                  </a:solidFill>
                  <a:ea typeface="Lato Light"/>
                  <a:cs typeface="Lato Light"/>
                  <a:sym typeface="Lato Light"/>
                </a:rPr>
                <a:t>sucedido</a:t>
              </a:r>
            </a:p>
            <a:p>
              <a:r>
                <a:rPr lang="es-CO" sz="1600" b="1" dirty="0">
                  <a:solidFill>
                    <a:srgbClr val="4A5C65"/>
                  </a:solidFill>
                  <a:ea typeface="Lato Light"/>
                  <a:cs typeface="Lato Light"/>
                  <a:sym typeface="Lato Light"/>
                </a:rPr>
                <a:t>-&gt; ¿</a:t>
              </a:r>
              <a:r>
                <a:rPr lang="es-CO" sz="1600" b="1" dirty="0">
                  <a:solidFill>
                    <a:srgbClr val="4A5C65"/>
                  </a:solidFill>
                  <a:ea typeface="Lato Light"/>
                  <a:cs typeface="Lato Light"/>
                </a:rPr>
                <a:t>Qué pasó?</a:t>
              </a:r>
            </a:p>
            <a:p>
              <a:r>
                <a:rPr lang="es-CO" sz="1600" b="1" dirty="0">
                  <a:solidFill>
                    <a:srgbClr val="4A5C65"/>
                  </a:solidFill>
                  <a:ea typeface="Lato Light"/>
                  <a:cs typeface="Lato Light"/>
                </a:rPr>
                <a:t>-&gt; ¿Cómo pasó?</a:t>
              </a:r>
              <a:endParaRPr lang="es-CO" sz="1600" dirty="0">
                <a:solidFill>
                  <a:srgbClr val="4A5C65"/>
                </a:solidFill>
                <a:latin typeface="Lato Light"/>
                <a:ea typeface="Lato Light"/>
                <a:cs typeface="Lato Light"/>
                <a:sym typeface="Lato Light"/>
              </a:endParaRPr>
            </a:p>
          </p:txBody>
        </p:sp>
        <p:sp>
          <p:nvSpPr>
            <p:cNvPr id="32" name="CuadroTexto 31"/>
            <p:cNvSpPr txBox="1"/>
            <p:nvPr/>
          </p:nvSpPr>
          <p:spPr>
            <a:xfrm>
              <a:off x="4021016" y="3511418"/>
              <a:ext cx="1715086" cy="1723549"/>
            </a:xfrm>
            <a:prstGeom prst="rect">
              <a:avLst/>
            </a:prstGeom>
            <a:solidFill>
              <a:schemeClr val="bg1"/>
            </a:solidFill>
          </p:spPr>
          <p:txBody>
            <a:bodyPr wrap="square" rtlCol="0">
              <a:spAutoFit/>
            </a:bodyPr>
            <a:lstStyle/>
            <a:p>
              <a:r>
                <a:rPr lang="es-CO" dirty="0">
                  <a:solidFill>
                    <a:srgbClr val="4A5C65"/>
                  </a:solidFill>
                  <a:ea typeface="Lato Light"/>
                  <a:cs typeface="Lato Light"/>
                </a:rPr>
                <a:t>A partir de lo sucedido explica porqué está ocurriendo algo</a:t>
              </a:r>
            </a:p>
            <a:p>
              <a:endParaRPr lang="es-CO" dirty="0">
                <a:solidFill>
                  <a:srgbClr val="4A5C65"/>
                </a:solidFill>
                <a:ea typeface="Lato Light"/>
                <a:cs typeface="Lato Light"/>
              </a:endParaRPr>
            </a:p>
            <a:p>
              <a:r>
                <a:rPr lang="es-CO" sz="1600" b="1" dirty="0">
                  <a:solidFill>
                    <a:srgbClr val="4A5C65"/>
                  </a:solidFill>
                  <a:ea typeface="Lato Light"/>
                  <a:cs typeface="Lato Light"/>
                </a:rPr>
                <a:t>-&gt; ¿Por qué pasó?</a:t>
              </a:r>
            </a:p>
          </p:txBody>
        </p:sp>
        <p:sp>
          <p:nvSpPr>
            <p:cNvPr id="33" name="CuadroTexto 32"/>
            <p:cNvSpPr txBox="1"/>
            <p:nvPr/>
          </p:nvSpPr>
          <p:spPr>
            <a:xfrm>
              <a:off x="5750170" y="3087042"/>
              <a:ext cx="1563858" cy="1969770"/>
            </a:xfrm>
            <a:prstGeom prst="rect">
              <a:avLst/>
            </a:prstGeom>
            <a:solidFill>
              <a:schemeClr val="bg1"/>
            </a:solidFill>
          </p:spPr>
          <p:txBody>
            <a:bodyPr wrap="square" rtlCol="0">
              <a:spAutoFit/>
            </a:bodyPr>
            <a:lstStyle/>
            <a:p>
              <a:r>
                <a:rPr lang="es-CO" dirty="0">
                  <a:solidFill>
                    <a:srgbClr val="4A5C65"/>
                  </a:solidFill>
                  <a:ea typeface="Lato Light"/>
                  <a:cs typeface="Lato Light"/>
                </a:rPr>
                <a:t>A partir de lo sucedido predice lo que sucederá</a:t>
              </a:r>
            </a:p>
            <a:p>
              <a:pPr algn="just"/>
              <a:endParaRPr lang="es-CO" dirty="0">
                <a:solidFill>
                  <a:srgbClr val="4A5C65"/>
                </a:solidFill>
                <a:ea typeface="Lato Light"/>
                <a:cs typeface="Lato Light"/>
              </a:endParaRPr>
            </a:p>
            <a:p>
              <a:r>
                <a:rPr lang="es-CO" sz="1600" b="1" dirty="0">
                  <a:solidFill>
                    <a:srgbClr val="4A5C65"/>
                  </a:solidFill>
                  <a:ea typeface="Lato Light"/>
                  <a:cs typeface="Lato Light"/>
                </a:rPr>
                <a:t>-&gt; ¿Qué podría pasar?</a:t>
              </a:r>
            </a:p>
          </p:txBody>
        </p:sp>
        <p:sp>
          <p:nvSpPr>
            <p:cNvPr id="34" name="CuadroTexto 33"/>
            <p:cNvSpPr txBox="1"/>
            <p:nvPr/>
          </p:nvSpPr>
          <p:spPr>
            <a:xfrm>
              <a:off x="7520353" y="2594065"/>
              <a:ext cx="2144151" cy="2708434"/>
            </a:xfrm>
            <a:prstGeom prst="rect">
              <a:avLst/>
            </a:prstGeom>
            <a:solidFill>
              <a:schemeClr val="bg1"/>
            </a:solidFill>
          </p:spPr>
          <p:txBody>
            <a:bodyPr wrap="square" rtlCol="0">
              <a:spAutoFit/>
            </a:bodyPr>
            <a:lstStyle/>
            <a:p>
              <a:r>
                <a:rPr lang="es-CO" dirty="0">
                  <a:solidFill>
                    <a:srgbClr val="4A5C65"/>
                  </a:solidFill>
                  <a:ea typeface="Lato Light"/>
                  <a:cs typeface="Lato Light"/>
                </a:rPr>
                <a:t>Identifica estrategias y acciones que mejoren los resultados previstos. </a:t>
              </a:r>
            </a:p>
            <a:p>
              <a:endParaRPr lang="es-CO" dirty="0">
                <a:solidFill>
                  <a:srgbClr val="4A5C65"/>
                </a:solidFill>
                <a:ea typeface="Lato Light"/>
                <a:cs typeface="Lato Light"/>
              </a:endParaRPr>
            </a:p>
            <a:p>
              <a:pPr algn="just"/>
              <a:r>
                <a:rPr lang="es-CO" sz="1600" b="1" dirty="0">
                  <a:solidFill>
                    <a:srgbClr val="4A5C65"/>
                  </a:solidFill>
                  <a:ea typeface="Lato Light"/>
                  <a:cs typeface="Lato Light"/>
                </a:rPr>
                <a:t>-&gt; ¿Qué hacer?</a:t>
              </a:r>
            </a:p>
            <a:p>
              <a:r>
                <a:rPr lang="es-CO" sz="1600" b="1" dirty="0">
                  <a:solidFill>
                    <a:srgbClr val="4A5C65"/>
                  </a:solidFill>
                  <a:ea typeface="Lato Light"/>
                  <a:cs typeface="Lato Light"/>
                </a:rPr>
                <a:t>-&gt; ¿Cómo hacerlo?</a:t>
              </a:r>
            </a:p>
            <a:p>
              <a:endParaRPr lang="es-CO" sz="1600" b="1" dirty="0">
                <a:solidFill>
                  <a:srgbClr val="4A5C65"/>
                </a:solidFill>
                <a:ea typeface="Lato Light"/>
                <a:cs typeface="Lato Light"/>
              </a:endParaRPr>
            </a:p>
            <a:p>
              <a:endParaRPr lang="es-CO" sz="1600" b="1" dirty="0">
                <a:solidFill>
                  <a:srgbClr val="4A5C65"/>
                </a:solidFill>
                <a:ea typeface="Lato Light"/>
                <a:cs typeface="Lato Light"/>
              </a:endParaRPr>
            </a:p>
            <a:p>
              <a:endParaRPr lang="es-CO" sz="1600" b="1" dirty="0">
                <a:solidFill>
                  <a:srgbClr val="4A5C65"/>
                </a:solidFill>
                <a:ea typeface="Lato Light"/>
                <a:cs typeface="Lato Light"/>
              </a:endParaRPr>
            </a:p>
          </p:txBody>
        </p:sp>
      </p:grpSp>
      <p:sp>
        <p:nvSpPr>
          <p:cNvPr id="28" name="Rectángulo 27"/>
          <p:cNvSpPr/>
          <p:nvPr/>
        </p:nvSpPr>
        <p:spPr>
          <a:xfrm>
            <a:off x="8891737" y="5977123"/>
            <a:ext cx="2403350" cy="400110"/>
          </a:xfrm>
          <a:prstGeom prst="rect">
            <a:avLst/>
          </a:prstGeom>
        </p:spPr>
        <p:txBody>
          <a:bodyPr wrap="none">
            <a:spAutoFit/>
          </a:bodyPr>
          <a:lstStyle/>
          <a:p>
            <a:r>
              <a:rPr lang="es-CO" sz="2000" dirty="0">
                <a:solidFill>
                  <a:srgbClr val="5F5F5F"/>
                </a:solidFill>
              </a:rPr>
              <a:t>Fuente: </a:t>
            </a:r>
            <a:r>
              <a:rPr lang="es-CO" sz="2000" dirty="0" err="1">
                <a:solidFill>
                  <a:srgbClr val="5F5F5F"/>
                </a:solidFill>
              </a:rPr>
              <a:t>Arun</a:t>
            </a:r>
            <a:r>
              <a:rPr lang="es-CO" sz="2000" dirty="0">
                <a:solidFill>
                  <a:srgbClr val="5F5F5F"/>
                </a:solidFill>
              </a:rPr>
              <a:t> </a:t>
            </a:r>
            <a:r>
              <a:rPr lang="es-CO" sz="2000" dirty="0" err="1">
                <a:solidFill>
                  <a:srgbClr val="5F5F5F"/>
                </a:solidFill>
              </a:rPr>
              <a:t>Kottolli</a:t>
            </a:r>
            <a:r>
              <a:rPr lang="es-CO" sz="2000" dirty="0">
                <a:solidFill>
                  <a:srgbClr val="5F5F5F"/>
                </a:solidFill>
              </a:rPr>
              <a:t> </a:t>
            </a:r>
          </a:p>
        </p:txBody>
      </p:sp>
      <p:sp>
        <p:nvSpPr>
          <p:cNvPr id="10" name="Rectángulo 9">
            <a:extLst>
              <a:ext uri="{FF2B5EF4-FFF2-40B4-BE49-F238E27FC236}">
                <a16:creationId xmlns:a16="http://schemas.microsoft.com/office/drawing/2014/main" id="{05931DEE-0987-41CC-86AA-5461F6874F30}"/>
              </a:ext>
            </a:extLst>
          </p:cNvPr>
          <p:cNvSpPr/>
          <p:nvPr/>
        </p:nvSpPr>
        <p:spPr>
          <a:xfrm>
            <a:off x="669235" y="812899"/>
            <a:ext cx="8180221" cy="400110"/>
          </a:xfrm>
          <a:prstGeom prst="rect">
            <a:avLst/>
          </a:prstGeom>
        </p:spPr>
        <p:txBody>
          <a:bodyPr wrap="square">
            <a:spAutoFit/>
          </a:bodyPr>
          <a:lstStyle/>
          <a:p>
            <a:pPr>
              <a:defRPr/>
            </a:pPr>
            <a:r>
              <a:rPr lang="es-CO" sz="2000" dirty="0">
                <a:solidFill>
                  <a:srgbClr val="62AC1E"/>
                </a:solidFill>
              </a:rPr>
              <a:t>Analítica – Tipos de Analítica</a:t>
            </a:r>
          </a:p>
        </p:txBody>
      </p:sp>
    </p:spTree>
    <p:extLst>
      <p:ext uri="{BB962C8B-B14F-4D97-AF65-F5344CB8AC3E}">
        <p14:creationId xmlns:p14="http://schemas.microsoft.com/office/powerpoint/2010/main" val="3134650933"/>
      </p:ext>
    </p:extLst>
  </p:cSld>
  <p:clrMapOvr>
    <a:masterClrMapping/>
  </p:clrMapOvr>
  <p:transition spd="slow"/>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ángulo 11"/>
          <p:cNvSpPr/>
          <p:nvPr/>
        </p:nvSpPr>
        <p:spPr>
          <a:xfrm>
            <a:off x="9738404" y="6457890"/>
            <a:ext cx="2152384" cy="400110"/>
          </a:xfrm>
          <a:prstGeom prst="rect">
            <a:avLst/>
          </a:prstGeom>
        </p:spPr>
        <p:txBody>
          <a:bodyPr wrap="none">
            <a:spAutoFit/>
          </a:bodyPr>
          <a:lstStyle/>
          <a:p>
            <a:r>
              <a:rPr lang="es-CO" sz="2000" dirty="0">
                <a:solidFill>
                  <a:srgbClr val="5F5F5F"/>
                </a:solidFill>
              </a:rPr>
              <a:t>Fuente: Infórmese </a:t>
            </a:r>
          </a:p>
        </p:txBody>
      </p:sp>
      <p:pic>
        <p:nvPicPr>
          <p:cNvPr id="6" name="Imagen 5"/>
          <p:cNvPicPr>
            <a:picLocks noChangeAspect="1"/>
          </p:cNvPicPr>
          <p:nvPr/>
        </p:nvPicPr>
        <p:blipFill rotWithShape="1">
          <a:blip r:embed="rId3"/>
          <a:srcRect r="67694" b="64871"/>
          <a:stretch/>
        </p:blipFill>
        <p:spPr>
          <a:xfrm>
            <a:off x="8590666" y="1041300"/>
            <a:ext cx="3102572" cy="1624517"/>
          </a:xfrm>
          <a:prstGeom prst="rect">
            <a:avLst/>
          </a:prstGeom>
        </p:spPr>
      </p:pic>
      <p:pic>
        <p:nvPicPr>
          <p:cNvPr id="7" name="Imagen 6"/>
          <p:cNvPicPr>
            <a:picLocks noChangeAspect="1"/>
          </p:cNvPicPr>
          <p:nvPr/>
        </p:nvPicPr>
        <p:blipFill rotWithShape="1">
          <a:blip r:embed="rId3"/>
          <a:srcRect t="33031" r="67694" b="35605"/>
          <a:stretch/>
        </p:blipFill>
        <p:spPr>
          <a:xfrm>
            <a:off x="8601610" y="2731561"/>
            <a:ext cx="3102572" cy="1450428"/>
          </a:xfrm>
          <a:prstGeom prst="rect">
            <a:avLst/>
          </a:prstGeom>
        </p:spPr>
      </p:pic>
      <p:pic>
        <p:nvPicPr>
          <p:cNvPr id="9" name="Imagen 8"/>
          <p:cNvPicPr>
            <a:picLocks noChangeAspect="1"/>
          </p:cNvPicPr>
          <p:nvPr/>
        </p:nvPicPr>
        <p:blipFill rotWithShape="1">
          <a:blip r:embed="rId3"/>
          <a:srcRect t="61720" r="67694" b="10242"/>
          <a:stretch/>
        </p:blipFill>
        <p:spPr>
          <a:xfrm>
            <a:off x="8610328" y="4254205"/>
            <a:ext cx="3102572" cy="1296601"/>
          </a:xfrm>
          <a:prstGeom prst="rect">
            <a:avLst/>
          </a:prstGeom>
        </p:spPr>
      </p:pic>
      <p:pic>
        <p:nvPicPr>
          <p:cNvPr id="10" name="Imagen 9"/>
          <p:cNvPicPr>
            <a:picLocks noChangeAspect="1"/>
          </p:cNvPicPr>
          <p:nvPr/>
        </p:nvPicPr>
        <p:blipFill rotWithShape="1">
          <a:blip r:embed="rId3"/>
          <a:srcRect l="63545"/>
          <a:stretch/>
        </p:blipFill>
        <p:spPr>
          <a:xfrm>
            <a:off x="5321439" y="1144588"/>
            <a:ext cx="3507199" cy="4624375"/>
          </a:xfrm>
          <a:prstGeom prst="rect">
            <a:avLst/>
          </a:prstGeom>
        </p:spPr>
      </p:pic>
      <p:sp>
        <p:nvSpPr>
          <p:cNvPr id="3" name="CuadroTexto 2"/>
          <p:cNvSpPr txBox="1"/>
          <p:nvPr/>
        </p:nvSpPr>
        <p:spPr>
          <a:xfrm>
            <a:off x="612879" y="1637046"/>
            <a:ext cx="4697616" cy="830997"/>
          </a:xfrm>
          <a:prstGeom prst="rect">
            <a:avLst/>
          </a:prstGeom>
          <a:noFill/>
        </p:spPr>
        <p:txBody>
          <a:bodyPr wrap="square" rtlCol="0">
            <a:spAutoFit/>
          </a:bodyPr>
          <a:lstStyle/>
          <a:p>
            <a:r>
              <a:rPr lang="es-CO" sz="2400" dirty="0">
                <a:solidFill>
                  <a:prstClr val="black">
                    <a:lumMod val="65000"/>
                    <a:lumOff val="35000"/>
                  </a:prstClr>
                </a:solidFill>
                <a:latin typeface="Calibri" panose="020F0502020204030204"/>
              </a:rPr>
              <a:t>¿Qué tan rápido estoy manejando?</a:t>
            </a:r>
          </a:p>
          <a:p>
            <a:r>
              <a:rPr lang="es-CO" sz="2400" dirty="0">
                <a:solidFill>
                  <a:prstClr val="black">
                    <a:lumMod val="65000"/>
                    <a:lumOff val="35000"/>
                  </a:prstClr>
                </a:solidFill>
                <a:latin typeface="Calibri" panose="020F0502020204030204"/>
              </a:rPr>
              <a:t>¿Qué tan rápido he manejado hoy?</a:t>
            </a:r>
          </a:p>
        </p:txBody>
      </p:sp>
      <p:sp>
        <p:nvSpPr>
          <p:cNvPr id="11" name="CuadroTexto 10"/>
          <p:cNvSpPr txBox="1"/>
          <p:nvPr/>
        </p:nvSpPr>
        <p:spPr>
          <a:xfrm>
            <a:off x="656003" y="3284613"/>
            <a:ext cx="3850799" cy="830997"/>
          </a:xfrm>
          <a:prstGeom prst="rect">
            <a:avLst/>
          </a:prstGeom>
          <a:noFill/>
        </p:spPr>
        <p:txBody>
          <a:bodyPr wrap="square" rtlCol="0">
            <a:spAutoFit/>
          </a:bodyPr>
          <a:lstStyle/>
          <a:p>
            <a:r>
              <a:rPr lang="es-CO" sz="2400" dirty="0">
                <a:solidFill>
                  <a:prstClr val="black">
                    <a:lumMod val="65000"/>
                    <a:lumOff val="35000"/>
                  </a:prstClr>
                </a:solidFill>
                <a:latin typeface="Calibri" panose="020F0502020204030204"/>
              </a:rPr>
              <a:t>¿Para cuántos kilómetros me alcanzará la gasolina?</a:t>
            </a:r>
          </a:p>
        </p:txBody>
      </p:sp>
      <p:sp>
        <p:nvSpPr>
          <p:cNvPr id="13" name="CuadroTexto 12"/>
          <p:cNvSpPr txBox="1"/>
          <p:nvPr/>
        </p:nvSpPr>
        <p:spPr>
          <a:xfrm>
            <a:off x="656003" y="4531108"/>
            <a:ext cx="4654491" cy="830997"/>
          </a:xfrm>
          <a:prstGeom prst="rect">
            <a:avLst/>
          </a:prstGeom>
          <a:noFill/>
        </p:spPr>
        <p:txBody>
          <a:bodyPr wrap="square" rtlCol="0">
            <a:spAutoFit/>
          </a:bodyPr>
          <a:lstStyle/>
          <a:p>
            <a:r>
              <a:rPr lang="es-CO" sz="2400" dirty="0">
                <a:solidFill>
                  <a:prstClr val="black">
                    <a:lumMod val="65000"/>
                    <a:lumOff val="35000"/>
                  </a:prstClr>
                </a:solidFill>
                <a:latin typeface="Calibri" panose="020F0502020204030204"/>
              </a:rPr>
              <a:t>¿Cuál es el camino más rápido para llegar a mi destino? </a:t>
            </a:r>
          </a:p>
        </p:txBody>
      </p:sp>
      <p:sp>
        <p:nvSpPr>
          <p:cNvPr id="14" name="1 Título">
            <a:extLst>
              <a:ext uri="{FF2B5EF4-FFF2-40B4-BE49-F238E27FC236}">
                <a16:creationId xmlns:a16="http://schemas.microsoft.com/office/drawing/2014/main" id="{C2D4E9D6-B297-4211-B02A-ED5C55FD6F91}"/>
              </a:ext>
            </a:extLst>
          </p:cNvPr>
          <p:cNvSpPr txBox="1">
            <a:spLocks/>
          </p:cNvSpPr>
          <p:nvPr/>
        </p:nvSpPr>
        <p:spPr>
          <a:xfrm>
            <a:off x="1505253" y="575564"/>
            <a:ext cx="9538868" cy="650922"/>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algn="l">
              <a:defRPr/>
            </a:pPr>
            <a:r>
              <a:rPr lang="x-none" sz="3200" dirty="0">
                <a:solidFill>
                  <a:srgbClr val="62AC1E"/>
                </a:solidFill>
                <a:latin typeface="+mn-lt"/>
                <a:ea typeface="+mn-ea"/>
                <a:cs typeface="+mn-cs"/>
              </a:rPr>
              <a:t>Ejercici</a:t>
            </a:r>
            <a:r>
              <a:rPr lang="es-CO" sz="3200" dirty="0">
                <a:solidFill>
                  <a:srgbClr val="62AC1E"/>
                </a:solidFill>
                <a:latin typeface="+mn-lt"/>
                <a:ea typeface="+mn-ea"/>
                <a:cs typeface="+mn-cs"/>
              </a:rPr>
              <a:t>o</a:t>
            </a:r>
            <a:endParaRPr lang="es-ES" sz="3200" dirty="0">
              <a:solidFill>
                <a:srgbClr val="62AC1E"/>
              </a:solidFill>
              <a:latin typeface="+mn-lt"/>
              <a:ea typeface="+mn-ea"/>
              <a:cs typeface="+mn-cs"/>
            </a:endParaRPr>
          </a:p>
        </p:txBody>
      </p:sp>
      <p:pic>
        <p:nvPicPr>
          <p:cNvPr id="15" name="Imagen 14">
            <a:extLst>
              <a:ext uri="{FF2B5EF4-FFF2-40B4-BE49-F238E27FC236}">
                <a16:creationId xmlns:a16="http://schemas.microsoft.com/office/drawing/2014/main" id="{B8C965E0-1B22-473D-B371-BF7275E3758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4054" y="528266"/>
            <a:ext cx="753514" cy="753514"/>
          </a:xfrm>
          <a:prstGeom prst="rect">
            <a:avLst/>
          </a:prstGeom>
        </p:spPr>
      </p:pic>
    </p:spTree>
    <p:extLst>
      <p:ext uri="{BB962C8B-B14F-4D97-AF65-F5344CB8AC3E}">
        <p14:creationId xmlns:p14="http://schemas.microsoft.com/office/powerpoint/2010/main" val="398132752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1 Título">
            <a:extLst>
              <a:ext uri="{FF2B5EF4-FFF2-40B4-BE49-F238E27FC236}">
                <a16:creationId xmlns:a16="http://schemas.microsoft.com/office/drawing/2014/main" id="{C86440B3-58DF-4235-8981-CE33DBAF893C}"/>
              </a:ext>
            </a:extLst>
          </p:cNvPr>
          <p:cNvSpPr txBox="1">
            <a:spLocks/>
          </p:cNvSpPr>
          <p:nvPr/>
        </p:nvSpPr>
        <p:spPr>
          <a:xfrm>
            <a:off x="474094" y="484186"/>
            <a:ext cx="11062867"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marL="0" marR="0" lvl="0" indent="0" algn="l" defTabSz="914400" rtl="0" eaLnBrk="1" fontAlgn="auto" latinLnBrk="0" hangingPunct="1">
              <a:lnSpc>
                <a:spcPts val="4000"/>
              </a:lnSpc>
              <a:spcBef>
                <a:spcPct val="0"/>
              </a:spcBef>
              <a:spcAft>
                <a:spcPts val="0"/>
              </a:spcAft>
              <a:buClrTx/>
              <a:buSzTx/>
              <a:buFontTx/>
              <a:buNone/>
              <a:tabLst/>
              <a:defRPr/>
            </a:pPr>
            <a:r>
              <a:rPr lang="es-ES" sz="3200" dirty="0">
                <a:solidFill>
                  <a:srgbClr val="62AC1E"/>
                </a:solidFill>
                <a:latin typeface="+mn-lt"/>
                <a:ea typeface="+mn-ea"/>
                <a:cs typeface="+mn-cs"/>
              </a:rPr>
              <a:t>¿Cómo puede aprender una máquina?</a:t>
            </a:r>
          </a:p>
        </p:txBody>
      </p:sp>
      <p:sp>
        <p:nvSpPr>
          <p:cNvPr id="17" name="Rectángulo 16"/>
          <p:cNvSpPr/>
          <p:nvPr/>
        </p:nvSpPr>
        <p:spPr>
          <a:xfrm>
            <a:off x="474094" y="1606955"/>
            <a:ext cx="11382626" cy="2246769"/>
          </a:xfrm>
          <a:prstGeom prst="rect">
            <a:avLst/>
          </a:prstGeom>
        </p:spPr>
        <p:txBody>
          <a:bodyPr wrap="square">
            <a:spAutoFit/>
          </a:bodyPr>
          <a:lstStyle/>
          <a:p>
            <a:pPr marL="342900" indent="-342900">
              <a:lnSpc>
                <a:spcPct val="130000"/>
              </a:lnSpc>
              <a:spcBef>
                <a:spcPct val="20000"/>
              </a:spcBef>
              <a:buBlip>
                <a:blip r:embed="rId3"/>
              </a:buBlip>
            </a:pPr>
            <a:r>
              <a:rPr lang="es-CO" sz="2500" dirty="0">
                <a:solidFill>
                  <a:srgbClr val="5F5F5F"/>
                </a:solidFill>
              </a:rPr>
              <a:t>¡Usando datos!</a:t>
            </a:r>
          </a:p>
          <a:p>
            <a:pPr marL="342900" indent="-342900">
              <a:lnSpc>
                <a:spcPct val="130000"/>
              </a:lnSpc>
              <a:spcBef>
                <a:spcPct val="20000"/>
              </a:spcBef>
              <a:buBlip>
                <a:blip r:embed="rId3"/>
              </a:buBlip>
            </a:pPr>
            <a:r>
              <a:rPr lang="es-CO" sz="2500" dirty="0">
                <a:solidFill>
                  <a:srgbClr val="5F5F5F"/>
                </a:solidFill>
              </a:rPr>
              <a:t>Antes, se debían programar explícitamente las reglas.</a:t>
            </a:r>
          </a:p>
          <a:p>
            <a:pPr marL="342900" indent="-342900">
              <a:lnSpc>
                <a:spcPct val="130000"/>
              </a:lnSpc>
              <a:spcBef>
                <a:spcPct val="20000"/>
              </a:spcBef>
              <a:buBlip>
                <a:blip r:embed="rId3"/>
              </a:buBlip>
            </a:pPr>
            <a:r>
              <a:rPr lang="x-none" sz="2500" dirty="0">
                <a:solidFill>
                  <a:srgbClr val="5F5F5F"/>
                </a:solidFill>
              </a:rPr>
              <a:t>El aprendizaje de máquina </a:t>
            </a:r>
            <a:r>
              <a:rPr lang="es-CO" sz="2500" dirty="0">
                <a:solidFill>
                  <a:srgbClr val="5F5F5F"/>
                </a:solidFill>
              </a:rPr>
              <a:t>o aprendizaje automático </a:t>
            </a:r>
            <a:r>
              <a:rPr lang="es-ES" sz="2500" dirty="0">
                <a:solidFill>
                  <a:srgbClr val="5F5F5F"/>
                </a:solidFill>
              </a:rPr>
              <a:t>tiene el objetivo de "aprender de los datos" con el fin de extraer conocimiento.</a:t>
            </a:r>
            <a:endParaRPr lang="es-CO" sz="2500" dirty="0">
              <a:solidFill>
                <a:srgbClr val="5F5F5F"/>
              </a:solidFill>
            </a:endParaRPr>
          </a:p>
        </p:txBody>
      </p:sp>
    </p:spTree>
    <p:extLst>
      <p:ext uri="{BB962C8B-B14F-4D97-AF65-F5344CB8AC3E}">
        <p14:creationId xmlns:p14="http://schemas.microsoft.com/office/powerpoint/2010/main" val="4226725426"/>
      </p:ext>
    </p:extLst>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1 Título">
            <a:extLst>
              <a:ext uri="{FF2B5EF4-FFF2-40B4-BE49-F238E27FC236}">
                <a16:creationId xmlns:a16="http://schemas.microsoft.com/office/drawing/2014/main" id="{C86440B3-58DF-4235-8981-CE33DBAF893C}"/>
              </a:ext>
            </a:extLst>
          </p:cNvPr>
          <p:cNvSpPr txBox="1">
            <a:spLocks/>
          </p:cNvSpPr>
          <p:nvPr/>
        </p:nvSpPr>
        <p:spPr>
          <a:xfrm>
            <a:off x="642684" y="441960"/>
            <a:ext cx="9934157" cy="609210"/>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marL="0" marR="0" lvl="0" indent="0" algn="l" defTabSz="914400" rtl="0" eaLnBrk="1" fontAlgn="auto" latinLnBrk="0" hangingPunct="1">
              <a:lnSpc>
                <a:spcPts val="4000"/>
              </a:lnSpc>
              <a:spcBef>
                <a:spcPct val="0"/>
              </a:spcBef>
              <a:spcAft>
                <a:spcPts val="0"/>
              </a:spcAft>
              <a:buClrTx/>
              <a:buSzTx/>
              <a:buFontTx/>
              <a:buNone/>
              <a:tabLst/>
              <a:defRPr/>
            </a:pPr>
            <a:r>
              <a:rPr lang="es-ES" sz="3200" dirty="0">
                <a:solidFill>
                  <a:srgbClr val="62AC1E"/>
                </a:solidFill>
                <a:latin typeface="+mn-lt"/>
                <a:ea typeface="+mn-ea"/>
                <a:cs typeface="+mn-cs"/>
              </a:rPr>
              <a:t>Posibles fuentes de datos</a:t>
            </a:r>
          </a:p>
        </p:txBody>
      </p:sp>
      <p:pic>
        <p:nvPicPr>
          <p:cNvPr id="5" name="Imagen 4"/>
          <p:cNvPicPr>
            <a:picLocks noChangeAspect="1"/>
          </p:cNvPicPr>
          <p:nvPr/>
        </p:nvPicPr>
        <p:blipFill>
          <a:blip r:embed="rId3"/>
          <a:stretch>
            <a:fillRect/>
          </a:stretch>
        </p:blipFill>
        <p:spPr>
          <a:xfrm>
            <a:off x="767402" y="1317941"/>
            <a:ext cx="10847047" cy="4724400"/>
          </a:xfrm>
          <a:prstGeom prst="rect">
            <a:avLst/>
          </a:prstGeom>
        </p:spPr>
      </p:pic>
    </p:spTree>
    <p:extLst>
      <p:ext uri="{BB962C8B-B14F-4D97-AF65-F5344CB8AC3E}">
        <p14:creationId xmlns:p14="http://schemas.microsoft.com/office/powerpoint/2010/main" val="2861634247"/>
      </p:ext>
    </p:extLst>
  </p:cSld>
  <p:clrMapOvr>
    <a:masterClrMapping/>
  </p:clrMapOvr>
  <p:transition spd="slow"/>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1 Título">
            <a:extLst>
              <a:ext uri="{FF2B5EF4-FFF2-40B4-BE49-F238E27FC236}">
                <a16:creationId xmlns:a16="http://schemas.microsoft.com/office/drawing/2014/main" id="{C86440B3-58DF-4235-8981-CE33DBAF893C}"/>
              </a:ext>
            </a:extLst>
          </p:cNvPr>
          <p:cNvSpPr txBox="1">
            <a:spLocks/>
          </p:cNvSpPr>
          <p:nvPr/>
        </p:nvSpPr>
        <p:spPr>
          <a:xfrm>
            <a:off x="642684" y="441960"/>
            <a:ext cx="9934157" cy="609210"/>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marL="0" marR="0" lvl="0" indent="0" algn="l" defTabSz="914400" rtl="0" eaLnBrk="1" fontAlgn="auto" latinLnBrk="0" hangingPunct="1">
              <a:lnSpc>
                <a:spcPts val="4000"/>
              </a:lnSpc>
              <a:spcBef>
                <a:spcPct val="0"/>
              </a:spcBef>
              <a:spcAft>
                <a:spcPts val="0"/>
              </a:spcAft>
              <a:buClrTx/>
              <a:buSzTx/>
              <a:buFontTx/>
              <a:buNone/>
              <a:tabLst/>
              <a:defRPr/>
            </a:pPr>
            <a:r>
              <a:rPr lang="es-ES" sz="3200" dirty="0">
                <a:solidFill>
                  <a:srgbClr val="62AC1E"/>
                </a:solidFill>
                <a:latin typeface="+mn-lt"/>
                <a:ea typeface="+mn-ea"/>
                <a:cs typeface="+mn-cs"/>
              </a:rPr>
              <a:t>Posibles fuentes de datos</a:t>
            </a:r>
          </a:p>
        </p:txBody>
      </p:sp>
      <p:pic>
        <p:nvPicPr>
          <p:cNvPr id="6" name="Imagen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18216" y="1051170"/>
            <a:ext cx="9022266" cy="4915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uadroTexto 6"/>
          <p:cNvSpPr txBox="1"/>
          <p:nvPr/>
        </p:nvSpPr>
        <p:spPr>
          <a:xfrm>
            <a:off x="5418515" y="6192174"/>
            <a:ext cx="6559140" cy="338554"/>
          </a:xfrm>
          <a:prstGeom prst="rect">
            <a:avLst/>
          </a:prstGeom>
          <a:noFill/>
        </p:spPr>
        <p:txBody>
          <a:bodyPr wrap="square">
            <a:spAutoFit/>
          </a:bodyPr>
          <a:lstStyle/>
          <a:p>
            <a:pPr>
              <a:defRPr/>
            </a:pPr>
            <a:r>
              <a:rPr lang="es" sz="1600" dirty="0">
                <a:solidFill>
                  <a:srgbClr val="5F5F5F"/>
                </a:solidFill>
                <a:sym typeface="Calibri"/>
              </a:rPr>
              <a:t>Fuente:</a:t>
            </a:r>
            <a:r>
              <a:rPr lang="es-CO" sz="1600" dirty="0">
                <a:solidFill>
                  <a:srgbClr val="5F5F5F"/>
                </a:solidFill>
              </a:rPr>
              <a:t> </a:t>
            </a:r>
            <a:r>
              <a:rPr lang="es-CO" sz="1600" dirty="0">
                <a:solidFill>
                  <a:srgbClr val="5F5F5F"/>
                </a:solidFill>
                <a:hlinkClick r:id="rId4"/>
              </a:rPr>
              <a:t>https://www.informationmanagementtoday.com/trends</a:t>
            </a:r>
            <a:r>
              <a:rPr lang="es-CO" sz="1200" dirty="0">
                <a:hlinkClick r:id="rId4"/>
              </a:rPr>
              <a:t>/</a:t>
            </a:r>
            <a:endParaRPr lang="es-CO" sz="1600" dirty="0"/>
          </a:p>
        </p:txBody>
      </p:sp>
    </p:spTree>
    <p:extLst>
      <p:ext uri="{BB962C8B-B14F-4D97-AF65-F5344CB8AC3E}">
        <p14:creationId xmlns:p14="http://schemas.microsoft.com/office/powerpoint/2010/main" val="692095026"/>
      </p:ext>
    </p:extLst>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1 Título">
            <a:extLst>
              <a:ext uri="{FF2B5EF4-FFF2-40B4-BE49-F238E27FC236}">
                <a16:creationId xmlns:a16="http://schemas.microsoft.com/office/drawing/2014/main" id="{C86440B3-58DF-4235-8981-CE33DBAF893C}"/>
              </a:ext>
            </a:extLst>
          </p:cNvPr>
          <p:cNvSpPr txBox="1">
            <a:spLocks/>
          </p:cNvSpPr>
          <p:nvPr/>
        </p:nvSpPr>
        <p:spPr>
          <a:xfrm>
            <a:off x="642684" y="441960"/>
            <a:ext cx="9934157" cy="609210"/>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marL="0" marR="0" lvl="0" indent="0" algn="l" defTabSz="914400" rtl="0" eaLnBrk="1" fontAlgn="auto" latinLnBrk="0" hangingPunct="1">
              <a:lnSpc>
                <a:spcPts val="4000"/>
              </a:lnSpc>
              <a:spcBef>
                <a:spcPct val="0"/>
              </a:spcBef>
              <a:spcAft>
                <a:spcPts val="0"/>
              </a:spcAft>
              <a:buClrTx/>
              <a:buSzTx/>
              <a:buFontTx/>
              <a:buNone/>
              <a:tabLst/>
              <a:defRPr/>
            </a:pPr>
            <a:r>
              <a:rPr lang="es-ES" sz="3200" dirty="0">
                <a:solidFill>
                  <a:srgbClr val="62AC1E"/>
                </a:solidFill>
                <a:latin typeface="+mn-lt"/>
                <a:ea typeface="+mn-ea"/>
                <a:cs typeface="+mn-cs"/>
              </a:rPr>
              <a:t>Posibles fuentes de datos</a:t>
            </a:r>
          </a:p>
        </p:txBody>
      </p:sp>
      <p:sp>
        <p:nvSpPr>
          <p:cNvPr id="7" name="CuadroTexto 6"/>
          <p:cNvSpPr txBox="1"/>
          <p:nvPr/>
        </p:nvSpPr>
        <p:spPr>
          <a:xfrm>
            <a:off x="5418515" y="6192174"/>
            <a:ext cx="6559140" cy="338554"/>
          </a:xfrm>
          <a:prstGeom prst="rect">
            <a:avLst/>
          </a:prstGeom>
          <a:noFill/>
        </p:spPr>
        <p:txBody>
          <a:bodyPr wrap="square">
            <a:spAutoFit/>
          </a:bodyPr>
          <a:lstStyle/>
          <a:p>
            <a:pPr>
              <a:defRPr/>
            </a:pPr>
            <a:r>
              <a:rPr lang="es" sz="1600" dirty="0">
                <a:solidFill>
                  <a:srgbClr val="5F5F5F"/>
                </a:solidFill>
                <a:sym typeface="Calibri"/>
              </a:rPr>
              <a:t>Fuente:</a:t>
            </a:r>
            <a:r>
              <a:rPr lang="es-CO" sz="1600" dirty="0">
                <a:solidFill>
                  <a:srgbClr val="5F5F5F"/>
                </a:solidFill>
              </a:rPr>
              <a:t> </a:t>
            </a:r>
            <a:r>
              <a:rPr lang="es-CO" sz="1600" dirty="0">
                <a:solidFill>
                  <a:srgbClr val="5F5F5F"/>
                </a:solidFill>
                <a:hlinkClick r:id="rId3"/>
              </a:rPr>
              <a:t>https://www.informationmanagementtoday.com/trends</a:t>
            </a:r>
            <a:r>
              <a:rPr lang="es-CO" sz="1200" dirty="0">
                <a:hlinkClick r:id="rId3"/>
              </a:rPr>
              <a:t>/</a:t>
            </a:r>
            <a:endParaRPr lang="es-CO" sz="1600" dirty="0"/>
          </a:p>
        </p:txBody>
      </p:sp>
      <p:pic>
        <p:nvPicPr>
          <p:cNvPr id="54274" name="Picture 2" descr="https://cloudnine.com/wp-content/uploads/2020/03/2019-2020InternetMinut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74775" y="1051170"/>
            <a:ext cx="9392541" cy="4980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692698"/>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9 CuadroTexto">
            <a:extLst>
              <a:ext uri="{FF2B5EF4-FFF2-40B4-BE49-F238E27FC236}">
                <a16:creationId xmlns:a16="http://schemas.microsoft.com/office/drawing/2014/main" id="{E4D4E870-2355-4202-A2A0-27282F3EF8E6}"/>
              </a:ext>
            </a:extLst>
          </p:cNvPr>
          <p:cNvSpPr txBox="1"/>
          <p:nvPr/>
        </p:nvSpPr>
        <p:spPr>
          <a:xfrm>
            <a:off x="1494092" y="1499969"/>
            <a:ext cx="8580351" cy="3933384"/>
          </a:xfrm>
          <a:prstGeom prst="rect">
            <a:avLst/>
          </a:prstGeom>
          <a:noFill/>
        </p:spPr>
        <p:txBody>
          <a:bodyPr wrap="square" rtlCol="0">
            <a:spAutoFit/>
          </a:bodyPr>
          <a:lstStyle/>
          <a:p>
            <a:pPr marL="342900" indent="-342900">
              <a:lnSpc>
                <a:spcPct val="130000"/>
              </a:lnSpc>
              <a:buBlip>
                <a:blip r:embed="rId3"/>
              </a:buBlip>
            </a:pPr>
            <a:r>
              <a:rPr lang="es-ES" sz="2400" dirty="0">
                <a:solidFill>
                  <a:srgbClr val="5F5F5F"/>
                </a:solidFill>
              </a:rPr>
              <a:t>Introducción. </a:t>
            </a:r>
            <a:endParaRPr lang="es-ES" sz="2400" dirty="0" smtClean="0">
              <a:solidFill>
                <a:srgbClr val="5F5F5F"/>
              </a:solidFill>
            </a:endParaRPr>
          </a:p>
          <a:p>
            <a:pPr marL="342900" indent="-342900">
              <a:lnSpc>
                <a:spcPct val="130000"/>
              </a:lnSpc>
              <a:buBlip>
                <a:blip r:embed="rId3"/>
              </a:buBlip>
            </a:pPr>
            <a:r>
              <a:rPr lang="es-ES" sz="2400" dirty="0" smtClean="0">
                <a:solidFill>
                  <a:srgbClr val="5F5F5F"/>
                </a:solidFill>
              </a:rPr>
              <a:t>Posibles </a:t>
            </a:r>
            <a:r>
              <a:rPr lang="es-ES" sz="2400" dirty="0">
                <a:solidFill>
                  <a:srgbClr val="5F5F5F"/>
                </a:solidFill>
              </a:rPr>
              <a:t>fuentes de datos</a:t>
            </a:r>
          </a:p>
          <a:p>
            <a:pPr marL="342900" lvl="0" indent="-342900">
              <a:lnSpc>
                <a:spcPct val="130000"/>
              </a:lnSpc>
              <a:buBlip>
                <a:blip r:embed="rId3"/>
              </a:buBlip>
            </a:pPr>
            <a:r>
              <a:rPr lang="es-419" sz="2400" dirty="0">
                <a:solidFill>
                  <a:srgbClr val="5F5F5F"/>
                </a:solidFill>
              </a:rPr>
              <a:t>Disciplinas de la ciencia de datos.</a:t>
            </a:r>
            <a:endParaRPr lang="es-ES" sz="2400" dirty="0">
              <a:solidFill>
                <a:srgbClr val="5F5F5F"/>
              </a:solidFill>
            </a:endParaRPr>
          </a:p>
          <a:p>
            <a:pPr marL="342900" lvl="0" indent="-342900">
              <a:lnSpc>
                <a:spcPct val="130000"/>
              </a:lnSpc>
              <a:buBlip>
                <a:blip r:embed="rId3"/>
              </a:buBlip>
            </a:pPr>
            <a:r>
              <a:rPr lang="es-ES" sz="2400" dirty="0" smtClean="0">
                <a:solidFill>
                  <a:srgbClr val="5F5F5F"/>
                </a:solidFill>
              </a:rPr>
              <a:t>Tabla </a:t>
            </a:r>
            <a:r>
              <a:rPr lang="es-ES" sz="2400" dirty="0">
                <a:solidFill>
                  <a:srgbClr val="5F5F5F"/>
                </a:solidFill>
              </a:rPr>
              <a:t>periódica del científico de datos.</a:t>
            </a:r>
          </a:p>
          <a:p>
            <a:pPr marL="342900" indent="-342900">
              <a:lnSpc>
                <a:spcPct val="130000"/>
              </a:lnSpc>
              <a:buBlip>
                <a:blip r:embed="rId3"/>
              </a:buBlip>
            </a:pPr>
            <a:r>
              <a:rPr lang="es-ES" sz="2400" dirty="0">
                <a:solidFill>
                  <a:srgbClr val="5F5F5F"/>
                </a:solidFill>
              </a:rPr>
              <a:t>Escenarios</a:t>
            </a:r>
            <a:r>
              <a:rPr lang="es-ES" sz="2400" dirty="0">
                <a:solidFill>
                  <a:srgbClr val="62AC1E"/>
                </a:solidFill>
              </a:rPr>
              <a:t> </a:t>
            </a:r>
            <a:r>
              <a:rPr lang="es-ES" sz="2400" dirty="0">
                <a:solidFill>
                  <a:srgbClr val="5F5F5F"/>
                </a:solidFill>
              </a:rPr>
              <a:t>de aplicación de </a:t>
            </a:r>
            <a:r>
              <a:rPr lang="es-419" sz="2400" dirty="0">
                <a:solidFill>
                  <a:srgbClr val="5F5F5F"/>
                </a:solidFill>
              </a:rPr>
              <a:t>la ciencia de datos.</a:t>
            </a:r>
          </a:p>
          <a:p>
            <a:pPr marL="342900" lvl="0" indent="-342900">
              <a:lnSpc>
                <a:spcPct val="130000"/>
              </a:lnSpc>
              <a:buBlip>
                <a:blip r:embed="rId3"/>
              </a:buBlip>
            </a:pPr>
            <a:r>
              <a:rPr lang="es-CO" sz="2400" dirty="0">
                <a:solidFill>
                  <a:srgbClr val="5F5F5F"/>
                </a:solidFill>
              </a:rPr>
              <a:t>Proceso Aprendizaje de máquina. Metodología CRISP-DM.</a:t>
            </a:r>
          </a:p>
          <a:p>
            <a:pPr marL="342900" indent="-342900">
              <a:lnSpc>
                <a:spcPct val="130000"/>
              </a:lnSpc>
              <a:buBlip>
                <a:blip r:embed="rId3"/>
              </a:buBlip>
            </a:pPr>
            <a:r>
              <a:rPr lang="es-ES" sz="2400" dirty="0">
                <a:solidFill>
                  <a:srgbClr val="5F5F5F"/>
                </a:solidFill>
              </a:rPr>
              <a:t>Tipos de Aprendizaje de </a:t>
            </a:r>
            <a:r>
              <a:rPr lang="es-ES" sz="2400" dirty="0" smtClean="0">
                <a:solidFill>
                  <a:srgbClr val="5F5F5F"/>
                </a:solidFill>
              </a:rPr>
              <a:t>Máquina.</a:t>
            </a:r>
            <a:endParaRPr lang="es-ES" sz="2400" dirty="0">
              <a:solidFill>
                <a:srgbClr val="5F5F5F"/>
              </a:solidFill>
            </a:endParaRPr>
          </a:p>
          <a:p>
            <a:pPr marL="342900" indent="-342900">
              <a:lnSpc>
                <a:spcPct val="130000"/>
              </a:lnSpc>
              <a:buBlip>
                <a:blip r:embed="rId3"/>
              </a:buBlip>
            </a:pPr>
            <a:r>
              <a:rPr lang="es-ES" sz="2400" dirty="0">
                <a:solidFill>
                  <a:srgbClr val="5F5F5F"/>
                </a:solidFill>
              </a:rPr>
              <a:t>Introducción a Regresión, Clasificación y </a:t>
            </a:r>
            <a:r>
              <a:rPr lang="es-ES" sz="2400" dirty="0" err="1">
                <a:solidFill>
                  <a:srgbClr val="5F5F5F"/>
                </a:solidFill>
              </a:rPr>
              <a:t>Clustering</a:t>
            </a:r>
            <a:r>
              <a:rPr lang="es-ES" sz="2400" dirty="0" smtClean="0">
                <a:solidFill>
                  <a:srgbClr val="5F5F5F"/>
                </a:solidFill>
              </a:rPr>
              <a:t>.</a:t>
            </a:r>
            <a:endParaRPr lang="es-ES" sz="2400" dirty="0">
              <a:solidFill>
                <a:srgbClr val="5F5F5F"/>
              </a:solidFill>
            </a:endParaRPr>
          </a:p>
        </p:txBody>
      </p:sp>
      <p:sp>
        <p:nvSpPr>
          <p:cNvPr id="10" name="1 Título">
            <a:extLst>
              <a:ext uri="{FF2B5EF4-FFF2-40B4-BE49-F238E27FC236}">
                <a16:creationId xmlns:a16="http://schemas.microsoft.com/office/drawing/2014/main" id="{A189F287-9A1F-476B-B40E-08606675DCC1}"/>
              </a:ext>
            </a:extLst>
          </p:cNvPr>
          <p:cNvSpPr txBox="1">
            <a:spLocks/>
          </p:cNvSpPr>
          <p:nvPr/>
        </p:nvSpPr>
        <p:spPr>
          <a:xfrm>
            <a:off x="595733" y="341113"/>
            <a:ext cx="11062867"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marL="0" marR="0" lvl="0" indent="0" algn="l" defTabSz="914400" rtl="0" eaLnBrk="1" fontAlgn="auto" latinLnBrk="0" hangingPunct="1">
              <a:lnSpc>
                <a:spcPts val="4000"/>
              </a:lnSpc>
              <a:spcBef>
                <a:spcPct val="0"/>
              </a:spcBef>
              <a:spcAft>
                <a:spcPts val="0"/>
              </a:spcAft>
              <a:buClrTx/>
              <a:buSzTx/>
              <a:buFontTx/>
              <a:buNone/>
              <a:tabLst/>
              <a:defRPr/>
            </a:pPr>
            <a:r>
              <a:rPr lang="es-ES" sz="3200" dirty="0">
                <a:solidFill>
                  <a:srgbClr val="62AC1E"/>
                </a:solidFill>
                <a:latin typeface="+mn-lt"/>
                <a:ea typeface="+mn-ea"/>
                <a:cs typeface="+mn-cs"/>
              </a:rPr>
              <a:t>Agenda</a:t>
            </a:r>
            <a:endParaRPr lang="es-ES" sz="2800" dirty="0">
              <a:solidFill>
                <a:srgbClr val="62AC1E"/>
              </a:solidFill>
              <a:latin typeface="+mn-lt"/>
              <a:ea typeface="+mn-ea"/>
              <a:cs typeface="+mn-cs"/>
            </a:endParaRPr>
          </a:p>
        </p:txBody>
      </p:sp>
    </p:spTree>
    <p:extLst>
      <p:ext uri="{BB962C8B-B14F-4D97-AF65-F5344CB8AC3E}">
        <p14:creationId xmlns:p14="http://schemas.microsoft.com/office/powerpoint/2010/main" val="111425921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p:cNvPicPr>
            <a:picLocks noChangeAspect="1"/>
          </p:cNvPicPr>
          <p:nvPr/>
        </p:nvPicPr>
        <p:blipFill>
          <a:blip r:embed="rId2"/>
          <a:stretch>
            <a:fillRect/>
          </a:stretch>
        </p:blipFill>
        <p:spPr>
          <a:xfrm>
            <a:off x="1674606" y="955056"/>
            <a:ext cx="8591550" cy="4876800"/>
          </a:xfrm>
          <a:prstGeom prst="rect">
            <a:avLst/>
          </a:prstGeom>
        </p:spPr>
      </p:pic>
      <p:sp>
        <p:nvSpPr>
          <p:cNvPr id="8" name="1 Título">
            <a:extLst>
              <a:ext uri="{FF2B5EF4-FFF2-40B4-BE49-F238E27FC236}">
                <a16:creationId xmlns:a16="http://schemas.microsoft.com/office/drawing/2014/main" id="{A189F287-9A1F-476B-B40E-08606675DCC1}"/>
              </a:ext>
            </a:extLst>
          </p:cNvPr>
          <p:cNvSpPr txBox="1">
            <a:spLocks/>
          </p:cNvSpPr>
          <p:nvPr/>
        </p:nvSpPr>
        <p:spPr>
          <a:xfrm>
            <a:off x="532075" y="536065"/>
            <a:ext cx="10876612"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algn="l">
              <a:defRPr/>
            </a:pPr>
            <a:r>
              <a:rPr lang="es-ES" sz="3200" dirty="0">
                <a:solidFill>
                  <a:srgbClr val="62AC1E"/>
                </a:solidFill>
                <a:latin typeface="+mn-lt"/>
              </a:rPr>
              <a:t>Tipos de Datos</a:t>
            </a:r>
            <a:endParaRPr lang="es-ES" sz="2800" dirty="0">
              <a:solidFill>
                <a:srgbClr val="62AC1E"/>
              </a:solidFill>
              <a:latin typeface="+mn-lt"/>
              <a:ea typeface="+mn-ea"/>
              <a:cs typeface="+mn-cs"/>
            </a:endParaRPr>
          </a:p>
        </p:txBody>
      </p:sp>
    </p:spTree>
    <p:extLst>
      <p:ext uri="{BB962C8B-B14F-4D97-AF65-F5344CB8AC3E}">
        <p14:creationId xmlns:p14="http://schemas.microsoft.com/office/powerpoint/2010/main" val="3753300340"/>
      </p:ext>
    </p:extLst>
  </p:cSld>
  <p:clrMapOvr>
    <a:masterClrMapping/>
  </p:clrMapOvr>
  <p:transition spd="slow"/>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05931DEE-0987-41CC-86AA-5461F6874F30}"/>
              </a:ext>
            </a:extLst>
          </p:cNvPr>
          <p:cNvSpPr/>
          <p:nvPr/>
        </p:nvSpPr>
        <p:spPr>
          <a:xfrm>
            <a:off x="532075" y="955056"/>
            <a:ext cx="8180221" cy="400110"/>
          </a:xfrm>
          <a:prstGeom prst="rect">
            <a:avLst/>
          </a:prstGeom>
        </p:spPr>
        <p:txBody>
          <a:bodyPr wrap="square">
            <a:spAutoFit/>
          </a:bodyPr>
          <a:lstStyle/>
          <a:p>
            <a:pPr>
              <a:defRPr/>
            </a:pPr>
            <a:r>
              <a:rPr lang="es-CO" sz="2000" dirty="0">
                <a:solidFill>
                  <a:srgbClr val="62AC1E"/>
                </a:solidFill>
              </a:rPr>
              <a:t>Estructurados</a:t>
            </a:r>
          </a:p>
        </p:txBody>
      </p:sp>
      <p:sp>
        <p:nvSpPr>
          <p:cNvPr id="4" name="9 CuadroTexto">
            <a:extLst>
              <a:ext uri="{FF2B5EF4-FFF2-40B4-BE49-F238E27FC236}">
                <a16:creationId xmlns:a16="http://schemas.microsoft.com/office/drawing/2014/main" id="{E4D4E870-2355-4202-A2A0-27282F3EF8E6}"/>
              </a:ext>
            </a:extLst>
          </p:cNvPr>
          <p:cNvSpPr txBox="1"/>
          <p:nvPr/>
        </p:nvSpPr>
        <p:spPr>
          <a:xfrm>
            <a:off x="532075" y="1648854"/>
            <a:ext cx="10229710" cy="2973122"/>
          </a:xfrm>
          <a:prstGeom prst="rect">
            <a:avLst/>
          </a:prstGeom>
          <a:noFill/>
        </p:spPr>
        <p:txBody>
          <a:bodyPr wrap="square" rtlCol="0">
            <a:spAutoFit/>
          </a:bodyPr>
          <a:lstStyle/>
          <a:p>
            <a:pPr marL="342900" indent="-342900" algn="just">
              <a:lnSpc>
                <a:spcPct val="130000"/>
              </a:lnSpc>
              <a:buBlip>
                <a:blip r:embed="rId2"/>
              </a:buBlip>
            </a:pPr>
            <a:r>
              <a:rPr lang="es-CO" sz="2400" dirty="0">
                <a:solidFill>
                  <a:srgbClr val="5F5F5F"/>
                </a:solidFill>
              </a:rPr>
              <a:t>Cuentan con un modelo de datos o </a:t>
            </a:r>
            <a:r>
              <a:rPr lang="es-CO" sz="2400" b="1" dirty="0">
                <a:solidFill>
                  <a:srgbClr val="5F5F5F"/>
                </a:solidFill>
              </a:rPr>
              <a:t>esquema</a:t>
            </a:r>
          </a:p>
          <a:p>
            <a:pPr marL="342900" indent="-342900" algn="just">
              <a:lnSpc>
                <a:spcPct val="130000"/>
              </a:lnSpc>
              <a:buBlip>
                <a:blip r:embed="rId2"/>
              </a:buBlip>
            </a:pPr>
            <a:r>
              <a:rPr lang="es-CO" sz="2400" dirty="0">
                <a:solidFill>
                  <a:srgbClr val="5F5F5F"/>
                </a:solidFill>
              </a:rPr>
              <a:t>Son almacenados en forma tabular</a:t>
            </a:r>
          </a:p>
          <a:p>
            <a:pPr marL="342900" indent="-342900" algn="just">
              <a:lnSpc>
                <a:spcPct val="130000"/>
              </a:lnSpc>
              <a:buBlip>
                <a:blip r:embed="rId2"/>
              </a:buBlip>
            </a:pPr>
            <a:r>
              <a:rPr lang="es-CO" sz="2400" dirty="0">
                <a:solidFill>
                  <a:srgbClr val="5F5F5F"/>
                </a:solidFill>
              </a:rPr>
              <a:t>Generalmente están almacenados en </a:t>
            </a:r>
            <a:r>
              <a:rPr lang="es-CO" sz="2400" b="1" dirty="0">
                <a:solidFill>
                  <a:srgbClr val="5F5F5F"/>
                </a:solidFill>
              </a:rPr>
              <a:t>bases de datos relacionales.</a:t>
            </a:r>
          </a:p>
          <a:p>
            <a:pPr marL="342900" indent="-342900" algn="just">
              <a:lnSpc>
                <a:spcPct val="130000"/>
              </a:lnSpc>
              <a:buBlip>
                <a:blip r:embed="rId2"/>
              </a:buBlip>
            </a:pPr>
            <a:r>
              <a:rPr lang="es-CO" sz="2400" dirty="0">
                <a:solidFill>
                  <a:srgbClr val="5F5F5F"/>
                </a:solidFill>
              </a:rPr>
              <a:t>Normalmente</a:t>
            </a:r>
            <a:r>
              <a:rPr lang="es-CO" sz="2400" b="1" dirty="0">
                <a:solidFill>
                  <a:srgbClr val="5F5F5F"/>
                </a:solidFill>
              </a:rPr>
              <a:t> </a:t>
            </a:r>
            <a:r>
              <a:rPr lang="es-CO" sz="2400" dirty="0">
                <a:solidFill>
                  <a:srgbClr val="5F5F5F"/>
                </a:solidFill>
              </a:rPr>
              <a:t>son generados por las aplicaciones empresariales.</a:t>
            </a:r>
          </a:p>
          <a:p>
            <a:pPr marL="342900" indent="-342900" algn="just">
              <a:lnSpc>
                <a:spcPct val="130000"/>
              </a:lnSpc>
              <a:buBlip>
                <a:blip r:embed="rId2"/>
              </a:buBlip>
            </a:pPr>
            <a:r>
              <a:rPr lang="es-CO" sz="2400" dirty="0">
                <a:solidFill>
                  <a:srgbClr val="5F5F5F"/>
                </a:solidFill>
              </a:rPr>
              <a:t>Los datos estructurados generalmente </a:t>
            </a:r>
            <a:r>
              <a:rPr lang="es-CO" sz="2400" b="1" dirty="0">
                <a:solidFill>
                  <a:srgbClr val="5F5F5F"/>
                </a:solidFill>
              </a:rPr>
              <a:t>no tienen requerimientos especiales </a:t>
            </a:r>
            <a:r>
              <a:rPr lang="es-CO" sz="2400" dirty="0">
                <a:solidFill>
                  <a:srgbClr val="5F5F5F"/>
                </a:solidFill>
              </a:rPr>
              <a:t>de pre-procesamiento o de almacenamiento. </a:t>
            </a:r>
          </a:p>
        </p:txBody>
      </p:sp>
      <p:sp>
        <p:nvSpPr>
          <p:cNvPr id="6" name="Elipse 5"/>
          <p:cNvSpPr/>
          <p:nvPr/>
        </p:nvSpPr>
        <p:spPr>
          <a:xfrm>
            <a:off x="6945924" y="955056"/>
            <a:ext cx="1397028" cy="1454036"/>
          </a:xfrm>
          <a:prstGeom prst="ellipse">
            <a:avLst/>
          </a:prstGeom>
          <a:blipFill>
            <a:blip r:embed="rId3" cstate="print">
              <a:extLst>
                <a:ext uri="{28A0092B-C50C-407E-A947-70E740481C1C}">
                  <a14:useLocalDpi xmlns:a14="http://schemas.microsoft.com/office/drawing/2010/main" val="0"/>
                </a:ext>
                <a:ext uri="{837473B0-CC2E-450A-ABE3-18F120FF3D39}">
                  <a1611:picAttrSrcUrl xmlns="" xmlns:dgm="http://schemas.openxmlformats.org/drawingml/2006/diagram" xmlns:a1611="http://schemas.microsoft.com/office/drawing/2016/11/main" xmlns:lc="http://schemas.openxmlformats.org/drawingml/2006/lockedCanvas" r:id="rId4"/>
                </a:ext>
              </a:extLst>
            </a:blip>
            <a:srcRect/>
            <a:stretch>
              <a:fillRect l="-15000" r="-15000"/>
            </a:stretch>
          </a:blipFill>
          <a:ln>
            <a:solidFill>
              <a:schemeClr val="tx1"/>
            </a:solid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7" name="Grupo 6"/>
          <p:cNvGrpSpPr/>
          <p:nvPr/>
        </p:nvGrpSpPr>
        <p:grpSpPr>
          <a:xfrm>
            <a:off x="8342952" y="955056"/>
            <a:ext cx="2612264" cy="1197428"/>
            <a:chOff x="6601821" y="457199"/>
            <a:chExt cx="1381034" cy="1197428"/>
          </a:xfrm>
        </p:grpSpPr>
        <p:sp>
          <p:nvSpPr>
            <p:cNvPr id="9" name="Rectángulo 8"/>
            <p:cNvSpPr/>
            <p:nvPr/>
          </p:nvSpPr>
          <p:spPr>
            <a:xfrm>
              <a:off x="6601821" y="457199"/>
              <a:ext cx="1381034" cy="119742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0" name="CuadroTexto 9"/>
            <p:cNvSpPr txBox="1"/>
            <p:nvPr/>
          </p:nvSpPr>
          <p:spPr>
            <a:xfrm>
              <a:off x="6601821" y="457199"/>
              <a:ext cx="1381034" cy="119742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60960" tIns="0" rIns="60960" bIns="0" numCol="1" spcCol="1270" anchor="ctr" anchorCtr="0">
              <a:noAutofit/>
            </a:bodyPr>
            <a:lstStyle/>
            <a:p>
              <a:pPr marL="0" lvl="0" indent="0" algn="l" defTabSz="711200">
                <a:lnSpc>
                  <a:spcPct val="90000"/>
                </a:lnSpc>
                <a:spcBef>
                  <a:spcPct val="0"/>
                </a:spcBef>
                <a:spcAft>
                  <a:spcPct val="35000"/>
                </a:spcAft>
                <a:buNone/>
              </a:pPr>
              <a:r>
                <a:rPr lang="es-ES" sz="2800" b="1" dirty="0">
                  <a:solidFill>
                    <a:srgbClr val="5F5F5F"/>
                  </a:solidFill>
                </a:rPr>
                <a:t>Estructurados</a:t>
              </a:r>
              <a:endParaRPr lang="es-ES" sz="2400" b="1" dirty="0">
                <a:solidFill>
                  <a:srgbClr val="5F5F5F"/>
                </a:solidFill>
              </a:endParaRPr>
            </a:p>
          </p:txBody>
        </p:sp>
      </p:grpSp>
      <p:sp>
        <p:nvSpPr>
          <p:cNvPr id="11" name="1 Título">
            <a:extLst>
              <a:ext uri="{FF2B5EF4-FFF2-40B4-BE49-F238E27FC236}">
                <a16:creationId xmlns:a16="http://schemas.microsoft.com/office/drawing/2014/main" id="{A189F287-9A1F-476B-B40E-08606675DCC1}"/>
              </a:ext>
            </a:extLst>
          </p:cNvPr>
          <p:cNvSpPr txBox="1">
            <a:spLocks/>
          </p:cNvSpPr>
          <p:nvPr/>
        </p:nvSpPr>
        <p:spPr>
          <a:xfrm>
            <a:off x="532075" y="536065"/>
            <a:ext cx="10876612"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algn="l">
              <a:defRPr/>
            </a:pPr>
            <a:r>
              <a:rPr lang="es-ES" sz="3200" dirty="0">
                <a:solidFill>
                  <a:srgbClr val="62AC1E"/>
                </a:solidFill>
                <a:latin typeface="+mn-lt"/>
              </a:rPr>
              <a:t>Tipos de Datos</a:t>
            </a:r>
            <a:endParaRPr lang="es-ES" sz="2800" dirty="0">
              <a:solidFill>
                <a:srgbClr val="62AC1E"/>
              </a:solidFill>
              <a:latin typeface="+mn-lt"/>
              <a:ea typeface="+mn-ea"/>
              <a:cs typeface="+mn-cs"/>
            </a:endParaRPr>
          </a:p>
        </p:txBody>
      </p:sp>
    </p:spTree>
    <p:extLst>
      <p:ext uri="{BB962C8B-B14F-4D97-AF65-F5344CB8AC3E}">
        <p14:creationId xmlns:p14="http://schemas.microsoft.com/office/powerpoint/2010/main" val="2758653681"/>
      </p:ext>
    </p:extLst>
  </p:cSld>
  <p:clrMapOvr>
    <a:masterClrMapping/>
  </p:clrMapOvr>
  <p:transition spd="slow"/>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9 CuadroTexto">
            <a:extLst>
              <a:ext uri="{FF2B5EF4-FFF2-40B4-BE49-F238E27FC236}">
                <a16:creationId xmlns:a16="http://schemas.microsoft.com/office/drawing/2014/main" id="{E4D4E870-2355-4202-A2A0-27282F3EF8E6}"/>
              </a:ext>
            </a:extLst>
          </p:cNvPr>
          <p:cNvSpPr txBox="1"/>
          <p:nvPr/>
        </p:nvSpPr>
        <p:spPr>
          <a:xfrm>
            <a:off x="532075" y="1631662"/>
            <a:ext cx="10229710" cy="4413516"/>
          </a:xfrm>
          <a:prstGeom prst="rect">
            <a:avLst/>
          </a:prstGeom>
          <a:noFill/>
        </p:spPr>
        <p:txBody>
          <a:bodyPr wrap="square" rtlCol="0">
            <a:spAutoFit/>
          </a:bodyPr>
          <a:lstStyle/>
          <a:p>
            <a:pPr marL="342900" indent="-342900" algn="just">
              <a:lnSpc>
                <a:spcPct val="130000"/>
              </a:lnSpc>
              <a:buBlip>
                <a:blip r:embed="rId2"/>
              </a:buBlip>
            </a:pPr>
            <a:r>
              <a:rPr lang="es-CO" sz="2400" dirty="0">
                <a:solidFill>
                  <a:srgbClr val="5F5F5F"/>
                </a:solidFill>
              </a:rPr>
              <a:t>Tienen un nivel definido de estructura y </a:t>
            </a:r>
          </a:p>
          <a:p>
            <a:pPr algn="just">
              <a:lnSpc>
                <a:spcPct val="130000"/>
              </a:lnSpc>
            </a:pPr>
            <a:r>
              <a:rPr lang="es-CO" sz="2400" dirty="0">
                <a:solidFill>
                  <a:srgbClr val="5F5F5F"/>
                </a:solidFill>
              </a:rPr>
              <a:t>     consistencia pero </a:t>
            </a:r>
            <a:r>
              <a:rPr lang="es-CO" sz="2400" b="1" dirty="0">
                <a:solidFill>
                  <a:srgbClr val="5F5F5F"/>
                </a:solidFill>
              </a:rPr>
              <a:t>no son relacionales </a:t>
            </a:r>
            <a:r>
              <a:rPr lang="es-CO" sz="2400" dirty="0">
                <a:solidFill>
                  <a:srgbClr val="5F5F5F"/>
                </a:solidFill>
              </a:rPr>
              <a:t>por naturaleza.</a:t>
            </a:r>
          </a:p>
          <a:p>
            <a:pPr marL="342900" indent="-342900" algn="just">
              <a:lnSpc>
                <a:spcPct val="130000"/>
              </a:lnSpc>
              <a:buBlip>
                <a:blip r:embed="rId2"/>
              </a:buBlip>
            </a:pPr>
            <a:r>
              <a:rPr lang="es-CO" sz="2400" dirty="0">
                <a:solidFill>
                  <a:srgbClr val="5F5F5F"/>
                </a:solidFill>
              </a:rPr>
              <a:t>Generalmente existen en </a:t>
            </a:r>
            <a:r>
              <a:rPr lang="es-CO" sz="2400" b="1" dirty="0">
                <a:solidFill>
                  <a:srgbClr val="5F5F5F"/>
                </a:solidFill>
              </a:rPr>
              <a:t>formatos textuales </a:t>
            </a:r>
            <a:r>
              <a:rPr lang="es-CO" sz="2400" dirty="0">
                <a:solidFill>
                  <a:srgbClr val="5F5F5F"/>
                </a:solidFill>
              </a:rPr>
              <a:t>tales como archivos XML o JSON</a:t>
            </a:r>
          </a:p>
          <a:p>
            <a:pPr marL="342900" indent="-342900" algn="just">
              <a:lnSpc>
                <a:spcPct val="130000"/>
              </a:lnSpc>
              <a:buBlip>
                <a:blip r:embed="rId2"/>
              </a:buBlip>
            </a:pPr>
            <a:r>
              <a:rPr lang="es-CO" sz="2400" dirty="0">
                <a:solidFill>
                  <a:srgbClr val="5F5F5F"/>
                </a:solidFill>
              </a:rPr>
              <a:t>Pueden ser procesados más fácilmente que los datos no estructurados.</a:t>
            </a:r>
          </a:p>
          <a:p>
            <a:pPr marL="342900" indent="-342900" algn="just">
              <a:lnSpc>
                <a:spcPct val="130000"/>
              </a:lnSpc>
              <a:buBlip>
                <a:blip r:embed="rId2"/>
              </a:buBlip>
            </a:pPr>
            <a:r>
              <a:rPr lang="es-CO" sz="2400" dirty="0">
                <a:solidFill>
                  <a:srgbClr val="5F5F5F"/>
                </a:solidFill>
              </a:rPr>
              <a:t>Algunos ejemplos comunes de fuentes de datos </a:t>
            </a:r>
            <a:r>
              <a:rPr lang="es-CO" sz="2400" dirty="0" err="1">
                <a:solidFill>
                  <a:srgbClr val="5F5F5F"/>
                </a:solidFill>
              </a:rPr>
              <a:t>semi</a:t>
            </a:r>
            <a:r>
              <a:rPr lang="es-CO" sz="2400" dirty="0">
                <a:solidFill>
                  <a:srgbClr val="5F5F5F"/>
                </a:solidFill>
              </a:rPr>
              <a:t>-estructurados son:</a:t>
            </a:r>
          </a:p>
          <a:p>
            <a:pPr marL="800100" lvl="1" indent="-342900" algn="just">
              <a:lnSpc>
                <a:spcPct val="130000"/>
              </a:lnSpc>
              <a:buBlip>
                <a:blip r:embed="rId2"/>
              </a:buBlip>
            </a:pPr>
            <a:r>
              <a:rPr lang="es-CO" sz="2400" dirty="0">
                <a:solidFill>
                  <a:srgbClr val="5F5F5F"/>
                </a:solidFill>
              </a:rPr>
              <a:t>EDI (</a:t>
            </a:r>
            <a:r>
              <a:rPr lang="es-CO" sz="2400" dirty="0" err="1">
                <a:solidFill>
                  <a:srgbClr val="5F5F5F"/>
                </a:solidFill>
              </a:rPr>
              <a:t>Electronic</a:t>
            </a:r>
            <a:r>
              <a:rPr lang="es-CO" sz="2400" dirty="0">
                <a:solidFill>
                  <a:srgbClr val="5F5F5F"/>
                </a:solidFill>
              </a:rPr>
              <a:t> Data </a:t>
            </a:r>
            <a:r>
              <a:rPr lang="es-CO" sz="2400" dirty="0" err="1">
                <a:solidFill>
                  <a:srgbClr val="5F5F5F"/>
                </a:solidFill>
              </a:rPr>
              <a:t>Interchange</a:t>
            </a:r>
            <a:r>
              <a:rPr lang="es-CO" sz="2400" dirty="0">
                <a:solidFill>
                  <a:srgbClr val="5F5F5F"/>
                </a:solidFill>
              </a:rPr>
              <a:t>)</a:t>
            </a:r>
          </a:p>
          <a:p>
            <a:pPr marL="800100" lvl="1" indent="-342900" algn="just">
              <a:lnSpc>
                <a:spcPct val="130000"/>
              </a:lnSpc>
              <a:buBlip>
                <a:blip r:embed="rId2"/>
              </a:buBlip>
            </a:pPr>
            <a:r>
              <a:rPr lang="es-CO" sz="2400" dirty="0">
                <a:solidFill>
                  <a:srgbClr val="5F5F5F"/>
                </a:solidFill>
              </a:rPr>
              <a:t>E-mails</a:t>
            </a:r>
          </a:p>
          <a:p>
            <a:pPr marL="800100" lvl="1" indent="-342900" algn="just">
              <a:lnSpc>
                <a:spcPct val="130000"/>
              </a:lnSpc>
              <a:buBlip>
                <a:blip r:embed="rId2"/>
              </a:buBlip>
            </a:pPr>
            <a:r>
              <a:rPr lang="es-CO" sz="2400" dirty="0">
                <a:solidFill>
                  <a:srgbClr val="5F5F5F"/>
                </a:solidFill>
              </a:rPr>
              <a:t>Hojas de cálculo</a:t>
            </a:r>
          </a:p>
          <a:p>
            <a:pPr marL="800100" lvl="1" indent="-342900" algn="just">
              <a:lnSpc>
                <a:spcPct val="130000"/>
              </a:lnSpc>
              <a:buBlip>
                <a:blip r:embed="rId2"/>
              </a:buBlip>
            </a:pPr>
            <a:r>
              <a:rPr lang="es-CO" sz="2400" dirty="0">
                <a:solidFill>
                  <a:srgbClr val="5F5F5F"/>
                </a:solidFill>
              </a:rPr>
              <a:t>XML, HTML</a:t>
            </a:r>
          </a:p>
        </p:txBody>
      </p:sp>
      <p:sp>
        <p:nvSpPr>
          <p:cNvPr id="11" name="Elipse 10"/>
          <p:cNvSpPr/>
          <p:nvPr/>
        </p:nvSpPr>
        <p:spPr>
          <a:xfrm>
            <a:off x="7344190" y="1032948"/>
            <a:ext cx="1197428" cy="1197428"/>
          </a:xfrm>
          <a:prstGeom prst="ellipse">
            <a:avLst/>
          </a:prstGeom>
          <a:blipFill>
            <a:blip r:embed="rId3"/>
            <a:srcRect/>
            <a:stretch>
              <a:fillRect/>
            </a:stretch>
          </a:blipFill>
          <a:ln>
            <a:solidFill>
              <a:srgbClr val="000000"/>
            </a:solid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12" name="Grupo 11"/>
          <p:cNvGrpSpPr/>
          <p:nvPr/>
        </p:nvGrpSpPr>
        <p:grpSpPr>
          <a:xfrm>
            <a:off x="8541618" y="1032948"/>
            <a:ext cx="3064227" cy="1197428"/>
            <a:chOff x="6027055" y="1854199"/>
            <a:chExt cx="3064227" cy="1197428"/>
          </a:xfrm>
        </p:grpSpPr>
        <p:sp>
          <p:nvSpPr>
            <p:cNvPr id="13" name="Rectángulo 12"/>
            <p:cNvSpPr/>
            <p:nvPr/>
          </p:nvSpPr>
          <p:spPr>
            <a:xfrm>
              <a:off x="6027056" y="1854199"/>
              <a:ext cx="1405731" cy="119742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4" name="CuadroTexto 13"/>
            <p:cNvSpPr txBox="1"/>
            <p:nvPr/>
          </p:nvSpPr>
          <p:spPr>
            <a:xfrm>
              <a:off x="6027055" y="1854199"/>
              <a:ext cx="3064227" cy="119742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60960" tIns="0" rIns="60960" bIns="0" numCol="1" spcCol="1270" anchor="ctr" anchorCtr="0">
              <a:noAutofit/>
            </a:bodyPr>
            <a:lstStyle/>
            <a:p>
              <a:pPr marL="0" lvl="0" indent="0" algn="l" defTabSz="711200">
                <a:lnSpc>
                  <a:spcPct val="90000"/>
                </a:lnSpc>
                <a:spcBef>
                  <a:spcPct val="0"/>
                </a:spcBef>
                <a:spcAft>
                  <a:spcPct val="35000"/>
                </a:spcAft>
                <a:buNone/>
              </a:pPr>
              <a:r>
                <a:rPr lang="es-ES" sz="2800" b="1" dirty="0" err="1">
                  <a:solidFill>
                    <a:srgbClr val="5F5F5F"/>
                  </a:solidFill>
                </a:rPr>
                <a:t>Semi</a:t>
              </a:r>
              <a:r>
                <a:rPr lang="es-ES" sz="2800" b="1" dirty="0">
                  <a:solidFill>
                    <a:srgbClr val="5F5F5F"/>
                  </a:solidFill>
                </a:rPr>
                <a:t>-estructurados</a:t>
              </a:r>
            </a:p>
          </p:txBody>
        </p:sp>
      </p:grpSp>
      <p:sp>
        <p:nvSpPr>
          <p:cNvPr id="9" name="Rectángulo 8">
            <a:extLst>
              <a:ext uri="{FF2B5EF4-FFF2-40B4-BE49-F238E27FC236}">
                <a16:creationId xmlns:a16="http://schemas.microsoft.com/office/drawing/2014/main" id="{05931DEE-0987-41CC-86AA-5461F6874F30}"/>
              </a:ext>
            </a:extLst>
          </p:cNvPr>
          <p:cNvSpPr/>
          <p:nvPr/>
        </p:nvSpPr>
        <p:spPr>
          <a:xfrm>
            <a:off x="532075" y="955056"/>
            <a:ext cx="8180221" cy="400110"/>
          </a:xfrm>
          <a:prstGeom prst="rect">
            <a:avLst/>
          </a:prstGeom>
        </p:spPr>
        <p:txBody>
          <a:bodyPr wrap="square">
            <a:spAutoFit/>
          </a:bodyPr>
          <a:lstStyle/>
          <a:p>
            <a:pPr>
              <a:defRPr/>
            </a:pPr>
            <a:r>
              <a:rPr lang="es-CO" sz="2000" dirty="0" err="1">
                <a:solidFill>
                  <a:srgbClr val="62AC1E"/>
                </a:solidFill>
              </a:rPr>
              <a:t>Semi</a:t>
            </a:r>
            <a:r>
              <a:rPr lang="es-CO" sz="2000" dirty="0">
                <a:solidFill>
                  <a:srgbClr val="62AC1E"/>
                </a:solidFill>
              </a:rPr>
              <a:t>-estructurados</a:t>
            </a:r>
          </a:p>
        </p:txBody>
      </p:sp>
      <p:sp>
        <p:nvSpPr>
          <p:cNvPr id="10" name="1 Título">
            <a:extLst>
              <a:ext uri="{FF2B5EF4-FFF2-40B4-BE49-F238E27FC236}">
                <a16:creationId xmlns:a16="http://schemas.microsoft.com/office/drawing/2014/main" id="{A189F287-9A1F-476B-B40E-08606675DCC1}"/>
              </a:ext>
            </a:extLst>
          </p:cNvPr>
          <p:cNvSpPr txBox="1">
            <a:spLocks/>
          </p:cNvSpPr>
          <p:nvPr/>
        </p:nvSpPr>
        <p:spPr>
          <a:xfrm>
            <a:off x="532075" y="536065"/>
            <a:ext cx="10876612"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algn="l">
              <a:defRPr/>
            </a:pPr>
            <a:r>
              <a:rPr lang="es-ES" sz="3200" dirty="0">
                <a:solidFill>
                  <a:srgbClr val="62AC1E"/>
                </a:solidFill>
                <a:latin typeface="+mn-lt"/>
              </a:rPr>
              <a:t>Tipos de Datos</a:t>
            </a:r>
            <a:endParaRPr lang="es-ES" sz="2800" dirty="0">
              <a:solidFill>
                <a:srgbClr val="62AC1E"/>
              </a:solidFill>
              <a:latin typeface="+mn-lt"/>
              <a:ea typeface="+mn-ea"/>
              <a:cs typeface="+mn-cs"/>
            </a:endParaRPr>
          </a:p>
        </p:txBody>
      </p:sp>
    </p:spTree>
    <p:extLst>
      <p:ext uri="{BB962C8B-B14F-4D97-AF65-F5344CB8AC3E}">
        <p14:creationId xmlns:p14="http://schemas.microsoft.com/office/powerpoint/2010/main" val="2439704318"/>
      </p:ext>
    </p:extLst>
  </p:cSld>
  <p:clrMapOvr>
    <a:masterClrMapping/>
  </p:clrMapOvr>
  <p:transition spd="slow"/>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9 CuadroTexto">
            <a:extLst>
              <a:ext uri="{FF2B5EF4-FFF2-40B4-BE49-F238E27FC236}">
                <a16:creationId xmlns:a16="http://schemas.microsoft.com/office/drawing/2014/main" id="{E4D4E870-2355-4202-A2A0-27282F3EF8E6}"/>
              </a:ext>
            </a:extLst>
          </p:cNvPr>
          <p:cNvSpPr txBox="1"/>
          <p:nvPr/>
        </p:nvSpPr>
        <p:spPr>
          <a:xfrm>
            <a:off x="532075" y="1631662"/>
            <a:ext cx="10229710" cy="3933384"/>
          </a:xfrm>
          <a:prstGeom prst="rect">
            <a:avLst/>
          </a:prstGeom>
          <a:noFill/>
        </p:spPr>
        <p:txBody>
          <a:bodyPr wrap="square" rtlCol="0">
            <a:spAutoFit/>
          </a:bodyPr>
          <a:lstStyle/>
          <a:p>
            <a:pPr marL="342900" indent="-342900" algn="just">
              <a:lnSpc>
                <a:spcPct val="130000"/>
              </a:lnSpc>
              <a:buBlip>
                <a:blip r:embed="rId2"/>
              </a:buBlip>
            </a:pPr>
            <a:r>
              <a:rPr lang="es-CO" sz="2400" b="1" dirty="0">
                <a:solidFill>
                  <a:srgbClr val="5F5F5F"/>
                </a:solidFill>
              </a:rPr>
              <a:t>No tienen </a:t>
            </a:r>
            <a:r>
              <a:rPr lang="es-CO" sz="2400" dirty="0">
                <a:solidFill>
                  <a:srgbClr val="5F5F5F"/>
                </a:solidFill>
              </a:rPr>
              <a:t>un modelo o </a:t>
            </a:r>
            <a:r>
              <a:rPr lang="es-CO" sz="2400" b="1" dirty="0">
                <a:solidFill>
                  <a:srgbClr val="5F5F5F"/>
                </a:solidFill>
              </a:rPr>
              <a:t>esquema</a:t>
            </a:r>
            <a:r>
              <a:rPr lang="es-CO" sz="2400" dirty="0">
                <a:solidFill>
                  <a:srgbClr val="5F5F5F"/>
                </a:solidFill>
              </a:rPr>
              <a:t> de datos</a:t>
            </a:r>
          </a:p>
          <a:p>
            <a:pPr marL="342900" indent="-342900" algn="just">
              <a:lnSpc>
                <a:spcPct val="130000"/>
              </a:lnSpc>
              <a:buBlip>
                <a:blip r:embed="rId2"/>
              </a:buBlip>
            </a:pPr>
            <a:r>
              <a:rPr lang="es-CO" sz="2400" dirty="0">
                <a:solidFill>
                  <a:srgbClr val="5F5F5F"/>
                </a:solidFill>
              </a:rPr>
              <a:t>Son generalmente </a:t>
            </a:r>
            <a:r>
              <a:rPr lang="es-CO" sz="2400" b="1" dirty="0">
                <a:solidFill>
                  <a:srgbClr val="5F5F5F"/>
                </a:solidFill>
              </a:rPr>
              <a:t>no relacionales</a:t>
            </a:r>
          </a:p>
          <a:p>
            <a:pPr marL="342900" indent="-342900" algn="just">
              <a:lnSpc>
                <a:spcPct val="130000"/>
              </a:lnSpc>
              <a:buBlip>
                <a:blip r:embed="rId2"/>
              </a:buBlip>
            </a:pPr>
            <a:r>
              <a:rPr lang="es-CO" sz="2400" dirty="0">
                <a:solidFill>
                  <a:srgbClr val="5F5F5F"/>
                </a:solidFill>
              </a:rPr>
              <a:t>Existen en forma textual o binaria.</a:t>
            </a:r>
          </a:p>
          <a:p>
            <a:pPr marL="342900" indent="-342900" algn="just">
              <a:lnSpc>
                <a:spcPct val="130000"/>
              </a:lnSpc>
              <a:buBlip>
                <a:blip r:embed="rId2"/>
              </a:buBlip>
            </a:pPr>
            <a:r>
              <a:rPr lang="es-CO" sz="2400" dirty="0">
                <a:solidFill>
                  <a:srgbClr val="5F5F5F"/>
                </a:solidFill>
              </a:rPr>
              <a:t>Algunos ejemplos son: Imágenes, audio, video, </a:t>
            </a:r>
            <a:r>
              <a:rPr lang="es-CO" sz="2400" dirty="0" err="1">
                <a:solidFill>
                  <a:srgbClr val="5F5F5F"/>
                </a:solidFill>
              </a:rPr>
              <a:t>posts</a:t>
            </a:r>
            <a:r>
              <a:rPr lang="es-CO" sz="2400" dirty="0">
                <a:solidFill>
                  <a:srgbClr val="5F5F5F"/>
                </a:solidFill>
              </a:rPr>
              <a:t> redes sociales.</a:t>
            </a:r>
          </a:p>
          <a:p>
            <a:pPr marL="342900" indent="-342900" algn="just">
              <a:lnSpc>
                <a:spcPct val="130000"/>
              </a:lnSpc>
              <a:buBlip>
                <a:blip r:embed="rId2"/>
              </a:buBlip>
            </a:pPr>
            <a:r>
              <a:rPr lang="es-CO" sz="2400" dirty="0">
                <a:solidFill>
                  <a:srgbClr val="5F5F5F"/>
                </a:solidFill>
              </a:rPr>
              <a:t>Al contrario de los datos estructurados, los datos no estructurados generalmente </a:t>
            </a:r>
            <a:r>
              <a:rPr lang="es-CO" sz="2400" b="1" dirty="0">
                <a:solidFill>
                  <a:srgbClr val="5F5F5F"/>
                </a:solidFill>
              </a:rPr>
              <a:t>necesitan lógica especial para pre-procesarlos</a:t>
            </a:r>
            <a:r>
              <a:rPr lang="es-CO" sz="2400" dirty="0">
                <a:solidFill>
                  <a:srgbClr val="5F5F5F"/>
                </a:solidFill>
              </a:rPr>
              <a:t>.</a:t>
            </a:r>
          </a:p>
          <a:p>
            <a:pPr marL="342900" indent="-342900" algn="just">
              <a:lnSpc>
                <a:spcPct val="130000"/>
              </a:lnSpc>
              <a:buBlip>
                <a:blip r:embed="rId2"/>
              </a:buBlip>
            </a:pPr>
            <a:r>
              <a:rPr lang="es-CO" sz="2400" dirty="0">
                <a:solidFill>
                  <a:srgbClr val="5F5F5F"/>
                </a:solidFill>
              </a:rPr>
              <a:t>Usualmente requieren el uso de </a:t>
            </a:r>
            <a:r>
              <a:rPr lang="es-CO" sz="2400" b="1" dirty="0">
                <a:solidFill>
                  <a:srgbClr val="5F5F5F"/>
                </a:solidFill>
              </a:rPr>
              <a:t>bases de datos no relacionales</a:t>
            </a:r>
            <a:r>
              <a:rPr lang="es-CO" sz="2400" dirty="0">
                <a:solidFill>
                  <a:srgbClr val="5F5F5F"/>
                </a:solidFill>
              </a:rPr>
              <a:t>, tales como bases de datos </a:t>
            </a:r>
            <a:r>
              <a:rPr lang="es-CO" sz="2400" dirty="0" err="1">
                <a:solidFill>
                  <a:srgbClr val="5F5F5F"/>
                </a:solidFill>
              </a:rPr>
              <a:t>NoSQL</a:t>
            </a:r>
            <a:r>
              <a:rPr lang="es-CO" sz="2400" dirty="0">
                <a:solidFill>
                  <a:srgbClr val="5F5F5F"/>
                </a:solidFill>
              </a:rPr>
              <a:t>.</a:t>
            </a:r>
          </a:p>
        </p:txBody>
      </p:sp>
      <p:sp>
        <p:nvSpPr>
          <p:cNvPr id="13" name="Rectángulo 12"/>
          <p:cNvSpPr/>
          <p:nvPr/>
        </p:nvSpPr>
        <p:spPr>
          <a:xfrm>
            <a:off x="8541619" y="1032948"/>
            <a:ext cx="1405731" cy="119742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9" name="Elipse 8"/>
          <p:cNvSpPr/>
          <p:nvPr/>
        </p:nvSpPr>
        <p:spPr>
          <a:xfrm>
            <a:off x="7423066" y="1085357"/>
            <a:ext cx="1197428" cy="1197428"/>
          </a:xfrm>
          <a:prstGeom prst="ellipse">
            <a:avLst/>
          </a:prstGeom>
          <a:blipFill>
            <a:blip r:embed="rId3" cstate="print">
              <a:extLst>
                <a:ext uri="{28A0092B-C50C-407E-A947-70E740481C1C}">
                  <a14:useLocalDpi xmlns:a14="http://schemas.microsoft.com/office/drawing/2010/main" val="0"/>
                </a:ext>
                <a:ext uri="{837473B0-CC2E-450A-ABE3-18F120FF3D39}">
                  <a1611:picAttrSrcUrl xmlns="" xmlns:dgm="http://schemas.openxmlformats.org/drawingml/2006/diagram" xmlns:a1611="http://schemas.microsoft.com/office/drawing/2016/11/main" xmlns:lc="http://schemas.openxmlformats.org/drawingml/2006/lockedCanvas" r:id="rId7"/>
                </a:ext>
              </a:extLst>
            </a:blip>
            <a:srcRect/>
            <a:stretch>
              <a:fillRect l="-39000" r="-39000"/>
            </a:stretch>
          </a:blipFill>
          <a:ln>
            <a:solidFill>
              <a:srgbClr val="000000"/>
            </a:solid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10" name="Grupo 9"/>
          <p:cNvGrpSpPr/>
          <p:nvPr/>
        </p:nvGrpSpPr>
        <p:grpSpPr>
          <a:xfrm>
            <a:off x="8620493" y="1085357"/>
            <a:ext cx="2788193" cy="1197428"/>
            <a:chOff x="6601821" y="3251199"/>
            <a:chExt cx="1381034" cy="1197428"/>
          </a:xfrm>
        </p:grpSpPr>
        <p:sp>
          <p:nvSpPr>
            <p:cNvPr id="15" name="Rectángulo 14"/>
            <p:cNvSpPr/>
            <p:nvPr/>
          </p:nvSpPr>
          <p:spPr>
            <a:xfrm>
              <a:off x="6601821" y="3251199"/>
              <a:ext cx="1381034" cy="119742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6" name="CuadroTexto 15"/>
            <p:cNvSpPr txBox="1"/>
            <p:nvPr/>
          </p:nvSpPr>
          <p:spPr>
            <a:xfrm>
              <a:off x="6601821" y="3251199"/>
              <a:ext cx="1381034" cy="119742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60960" tIns="0" rIns="60960" bIns="0" numCol="1" spcCol="1270" anchor="ctr" anchorCtr="0">
              <a:noAutofit/>
            </a:bodyPr>
            <a:lstStyle/>
            <a:p>
              <a:pPr marL="0" lvl="0" indent="0" algn="l" defTabSz="711200">
                <a:lnSpc>
                  <a:spcPct val="90000"/>
                </a:lnSpc>
                <a:spcBef>
                  <a:spcPct val="0"/>
                </a:spcBef>
                <a:spcAft>
                  <a:spcPct val="35000"/>
                </a:spcAft>
                <a:buNone/>
              </a:pPr>
              <a:r>
                <a:rPr lang="es-ES" sz="2800" b="1" kern="1200" dirty="0">
                  <a:solidFill>
                    <a:schemeClr val="tx1">
                      <a:lumMod val="65000"/>
                      <a:lumOff val="35000"/>
                    </a:schemeClr>
                  </a:solidFill>
                </a:rPr>
                <a:t>No estructurados</a:t>
              </a:r>
            </a:p>
          </p:txBody>
        </p:sp>
      </p:grpSp>
      <p:sp>
        <p:nvSpPr>
          <p:cNvPr id="11" name="Rectángulo 10">
            <a:extLst>
              <a:ext uri="{FF2B5EF4-FFF2-40B4-BE49-F238E27FC236}">
                <a16:creationId xmlns:a16="http://schemas.microsoft.com/office/drawing/2014/main" id="{05931DEE-0987-41CC-86AA-5461F6874F30}"/>
              </a:ext>
            </a:extLst>
          </p:cNvPr>
          <p:cNvSpPr/>
          <p:nvPr/>
        </p:nvSpPr>
        <p:spPr>
          <a:xfrm>
            <a:off x="532075" y="955056"/>
            <a:ext cx="8180221" cy="400110"/>
          </a:xfrm>
          <a:prstGeom prst="rect">
            <a:avLst/>
          </a:prstGeom>
        </p:spPr>
        <p:txBody>
          <a:bodyPr wrap="square">
            <a:spAutoFit/>
          </a:bodyPr>
          <a:lstStyle/>
          <a:p>
            <a:pPr>
              <a:defRPr/>
            </a:pPr>
            <a:r>
              <a:rPr lang="es-CO" sz="2000" dirty="0">
                <a:solidFill>
                  <a:srgbClr val="62AC1E"/>
                </a:solidFill>
              </a:rPr>
              <a:t>No estructurados</a:t>
            </a:r>
          </a:p>
        </p:txBody>
      </p:sp>
      <p:sp>
        <p:nvSpPr>
          <p:cNvPr id="12" name="1 Título">
            <a:extLst>
              <a:ext uri="{FF2B5EF4-FFF2-40B4-BE49-F238E27FC236}">
                <a16:creationId xmlns:a16="http://schemas.microsoft.com/office/drawing/2014/main" id="{A189F287-9A1F-476B-B40E-08606675DCC1}"/>
              </a:ext>
            </a:extLst>
          </p:cNvPr>
          <p:cNvSpPr txBox="1">
            <a:spLocks/>
          </p:cNvSpPr>
          <p:nvPr/>
        </p:nvSpPr>
        <p:spPr>
          <a:xfrm>
            <a:off x="532075" y="536065"/>
            <a:ext cx="10876612"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algn="l">
              <a:defRPr/>
            </a:pPr>
            <a:r>
              <a:rPr lang="es-ES" sz="3200" dirty="0">
                <a:solidFill>
                  <a:srgbClr val="62AC1E"/>
                </a:solidFill>
                <a:latin typeface="+mn-lt"/>
              </a:rPr>
              <a:t>Tipos de Datos</a:t>
            </a:r>
            <a:endParaRPr lang="es-ES" sz="2800" dirty="0">
              <a:solidFill>
                <a:srgbClr val="62AC1E"/>
              </a:solidFill>
              <a:latin typeface="+mn-lt"/>
              <a:ea typeface="+mn-ea"/>
              <a:cs typeface="+mn-cs"/>
            </a:endParaRPr>
          </a:p>
        </p:txBody>
      </p:sp>
    </p:spTree>
    <p:extLst>
      <p:ext uri="{BB962C8B-B14F-4D97-AF65-F5344CB8AC3E}">
        <p14:creationId xmlns:p14="http://schemas.microsoft.com/office/powerpoint/2010/main" val="1218185179"/>
      </p:ext>
    </p:extLst>
  </p:cSld>
  <p:clrMapOvr>
    <a:masterClrMapping/>
  </p:clrMapOvr>
  <p:transition spd="slow"/>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a:extLst>
              <a:ext uri="{28A0092B-C50C-407E-A947-70E740481C1C}">
                <a14:useLocalDpi xmlns:a14="http://schemas.microsoft.com/office/drawing/2010/main" val="0"/>
              </a:ext>
            </a:extLst>
          </a:blip>
          <a:srcRect l="3452" t="13926" r="3204" b="9538"/>
          <a:stretch/>
        </p:blipFill>
        <p:spPr>
          <a:xfrm>
            <a:off x="2439390" y="814382"/>
            <a:ext cx="7061981" cy="5248796"/>
          </a:xfrm>
          <a:prstGeom prst="rect">
            <a:avLst/>
          </a:prstGeom>
        </p:spPr>
      </p:pic>
      <p:sp>
        <p:nvSpPr>
          <p:cNvPr id="5" name="Rectángulo 4">
            <a:extLst>
              <a:ext uri="{FF2B5EF4-FFF2-40B4-BE49-F238E27FC236}">
                <a16:creationId xmlns:a16="http://schemas.microsoft.com/office/drawing/2014/main" id="{05931DEE-0987-41CC-86AA-5461F6874F30}"/>
              </a:ext>
            </a:extLst>
          </p:cNvPr>
          <p:cNvSpPr/>
          <p:nvPr/>
        </p:nvSpPr>
        <p:spPr>
          <a:xfrm>
            <a:off x="532075" y="955056"/>
            <a:ext cx="8180221" cy="400110"/>
          </a:xfrm>
          <a:prstGeom prst="rect">
            <a:avLst/>
          </a:prstGeom>
        </p:spPr>
        <p:txBody>
          <a:bodyPr wrap="square">
            <a:spAutoFit/>
          </a:bodyPr>
          <a:lstStyle/>
          <a:p>
            <a:pPr>
              <a:defRPr/>
            </a:pPr>
            <a:r>
              <a:rPr lang="es-CO" sz="2000" dirty="0">
                <a:solidFill>
                  <a:srgbClr val="62AC1E"/>
                </a:solidFill>
              </a:rPr>
              <a:t>Según fuentes y formatos</a:t>
            </a:r>
          </a:p>
        </p:txBody>
      </p:sp>
      <p:sp>
        <p:nvSpPr>
          <p:cNvPr id="6" name="1 Título">
            <a:extLst>
              <a:ext uri="{FF2B5EF4-FFF2-40B4-BE49-F238E27FC236}">
                <a16:creationId xmlns:a16="http://schemas.microsoft.com/office/drawing/2014/main" id="{A189F287-9A1F-476B-B40E-08606675DCC1}"/>
              </a:ext>
            </a:extLst>
          </p:cNvPr>
          <p:cNvSpPr txBox="1">
            <a:spLocks/>
          </p:cNvSpPr>
          <p:nvPr/>
        </p:nvSpPr>
        <p:spPr>
          <a:xfrm>
            <a:off x="532075" y="536065"/>
            <a:ext cx="10876612"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algn="l">
              <a:defRPr/>
            </a:pPr>
            <a:r>
              <a:rPr lang="es-ES" sz="3200" dirty="0">
                <a:solidFill>
                  <a:srgbClr val="62AC1E"/>
                </a:solidFill>
                <a:latin typeface="+mn-lt"/>
              </a:rPr>
              <a:t>Tipos de Datos</a:t>
            </a:r>
            <a:endParaRPr lang="es-ES" sz="2800" dirty="0">
              <a:solidFill>
                <a:srgbClr val="62AC1E"/>
              </a:solidFill>
              <a:latin typeface="+mn-lt"/>
              <a:ea typeface="+mn-ea"/>
              <a:cs typeface="+mn-cs"/>
            </a:endParaRPr>
          </a:p>
        </p:txBody>
      </p:sp>
    </p:spTree>
    <p:extLst>
      <p:ext uri="{BB962C8B-B14F-4D97-AF65-F5344CB8AC3E}">
        <p14:creationId xmlns:p14="http://schemas.microsoft.com/office/powerpoint/2010/main" val="3708870837"/>
      </p:ext>
    </p:extLst>
  </p:cSld>
  <p:clrMapOvr>
    <a:masterClrMapping/>
  </p:clrMapOvr>
  <p:transition spd="slow"/>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1 Título">
            <a:extLst>
              <a:ext uri="{FF2B5EF4-FFF2-40B4-BE49-F238E27FC236}">
                <a16:creationId xmlns:a16="http://schemas.microsoft.com/office/drawing/2014/main" id="{A189F287-9A1F-476B-B40E-08606675DCC1}"/>
              </a:ext>
            </a:extLst>
          </p:cNvPr>
          <p:cNvSpPr txBox="1">
            <a:spLocks/>
          </p:cNvSpPr>
          <p:nvPr/>
        </p:nvSpPr>
        <p:spPr>
          <a:xfrm>
            <a:off x="600347" y="408063"/>
            <a:ext cx="11062867"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lvl="0" algn="l">
              <a:defRPr/>
            </a:pPr>
            <a:r>
              <a:rPr lang="es-419" sz="3200" dirty="0">
                <a:solidFill>
                  <a:srgbClr val="62AC1E"/>
                </a:solidFill>
                <a:latin typeface="+mn-lt"/>
                <a:ea typeface="+mn-ea"/>
                <a:cs typeface="+mn-cs"/>
              </a:rPr>
              <a:t>Disciplinas</a:t>
            </a:r>
            <a:r>
              <a:rPr lang="es-419" sz="3200" dirty="0">
                <a:solidFill>
                  <a:srgbClr val="5F5F5F"/>
                </a:solidFill>
              </a:rPr>
              <a:t> </a:t>
            </a:r>
            <a:r>
              <a:rPr lang="es-419" sz="3200" dirty="0">
                <a:solidFill>
                  <a:srgbClr val="62AC1E"/>
                </a:solidFill>
                <a:latin typeface="+mn-lt"/>
                <a:ea typeface="+mn-ea"/>
                <a:cs typeface="+mn-cs"/>
              </a:rPr>
              <a:t>de la ciencia de datos</a:t>
            </a:r>
            <a:endParaRPr lang="es-ES" sz="3200" dirty="0">
              <a:solidFill>
                <a:srgbClr val="62AC1E"/>
              </a:solidFill>
              <a:latin typeface="+mn-lt"/>
              <a:ea typeface="+mn-ea"/>
              <a:cs typeface="+mn-cs"/>
            </a:endParaRPr>
          </a:p>
        </p:txBody>
      </p:sp>
      <p:pic>
        <p:nvPicPr>
          <p:cNvPr id="2" name="Imagen 1">
            <a:extLst>
              <a:ext uri="{FF2B5EF4-FFF2-40B4-BE49-F238E27FC236}">
                <a16:creationId xmlns:a16="http://schemas.microsoft.com/office/drawing/2014/main" id="{9014EE34-2268-4C6C-8956-BB2C81132B75}"/>
              </a:ext>
            </a:extLst>
          </p:cNvPr>
          <p:cNvPicPr>
            <a:picLocks noChangeAspect="1"/>
          </p:cNvPicPr>
          <p:nvPr/>
        </p:nvPicPr>
        <p:blipFill>
          <a:blip r:embed="rId3"/>
          <a:stretch>
            <a:fillRect/>
          </a:stretch>
        </p:blipFill>
        <p:spPr>
          <a:xfrm>
            <a:off x="3739101" y="1952276"/>
            <a:ext cx="4785360" cy="4362732"/>
          </a:xfrm>
          <a:prstGeom prst="rect">
            <a:avLst/>
          </a:prstGeom>
        </p:spPr>
      </p:pic>
      <p:sp>
        <p:nvSpPr>
          <p:cNvPr id="3" name="CuadroTexto 2"/>
          <p:cNvSpPr txBox="1"/>
          <p:nvPr/>
        </p:nvSpPr>
        <p:spPr>
          <a:xfrm>
            <a:off x="278294" y="1046689"/>
            <a:ext cx="9302364" cy="461665"/>
          </a:xfrm>
          <a:prstGeom prst="rect">
            <a:avLst/>
          </a:prstGeom>
        </p:spPr>
        <p:txBody>
          <a:bodyPr wrap="square" rtlCol="0">
            <a:spAutoFit/>
          </a:bodyPr>
          <a:lstStyle/>
          <a:p>
            <a:pPr marL="0" marR="0" indent="0" algn="ctr" defTabSz="914400" rtl="0" eaLnBrk="1" fontAlgn="auto" latinLnBrk="0" hangingPunct="1">
              <a:lnSpc>
                <a:spcPct val="100000"/>
              </a:lnSpc>
              <a:spcBef>
                <a:spcPct val="0"/>
              </a:spcBef>
              <a:spcAft>
                <a:spcPts val="0"/>
              </a:spcAft>
              <a:buClrTx/>
              <a:buSzTx/>
              <a:buFontTx/>
              <a:buNone/>
              <a:tabLst/>
            </a:pPr>
            <a:r>
              <a:rPr lang="es-419" sz="2400" dirty="0">
                <a:solidFill>
                  <a:srgbClr val="5F5F5F"/>
                </a:solidFill>
              </a:rPr>
              <a:t>La ciencia de datos requiere la combinación de disciplinas diferentes:</a:t>
            </a:r>
          </a:p>
        </p:txBody>
      </p:sp>
    </p:spTree>
    <p:extLst>
      <p:ext uri="{BB962C8B-B14F-4D97-AF65-F5344CB8AC3E}">
        <p14:creationId xmlns:p14="http://schemas.microsoft.com/office/powerpoint/2010/main" val="245740753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 Título">
            <a:extLst>
              <a:ext uri="{FF2B5EF4-FFF2-40B4-BE49-F238E27FC236}">
                <a16:creationId xmlns:a16="http://schemas.microsoft.com/office/drawing/2014/main" id="{EBBDB5BE-5979-425C-9BC9-D34B03AEA95B}"/>
              </a:ext>
            </a:extLst>
          </p:cNvPr>
          <p:cNvSpPr txBox="1">
            <a:spLocks/>
          </p:cNvSpPr>
          <p:nvPr/>
        </p:nvSpPr>
        <p:spPr>
          <a:xfrm>
            <a:off x="728145" y="317404"/>
            <a:ext cx="11062867"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lvl="0" algn="l">
              <a:defRPr/>
            </a:pPr>
            <a:r>
              <a:rPr lang="en-US" sz="3200" dirty="0" err="1">
                <a:solidFill>
                  <a:srgbClr val="62AC1E"/>
                </a:solidFill>
                <a:latin typeface="+mn-lt"/>
                <a:ea typeface="+mn-ea"/>
                <a:cs typeface="+mn-cs"/>
              </a:rPr>
              <a:t>Tabla</a:t>
            </a:r>
            <a:r>
              <a:rPr lang="en-US" sz="3200" dirty="0">
                <a:solidFill>
                  <a:srgbClr val="62AC1E"/>
                </a:solidFill>
                <a:latin typeface="+mn-lt"/>
                <a:ea typeface="+mn-ea"/>
                <a:cs typeface="+mn-cs"/>
              </a:rPr>
              <a:t> </a:t>
            </a:r>
            <a:r>
              <a:rPr lang="en-US" sz="3200" dirty="0" err="1">
                <a:solidFill>
                  <a:srgbClr val="62AC1E"/>
                </a:solidFill>
                <a:latin typeface="+mn-lt"/>
                <a:ea typeface="+mn-ea"/>
                <a:cs typeface="+mn-cs"/>
              </a:rPr>
              <a:t>periódica</a:t>
            </a:r>
            <a:r>
              <a:rPr lang="en-US" sz="3200" dirty="0">
                <a:solidFill>
                  <a:srgbClr val="62AC1E"/>
                </a:solidFill>
                <a:latin typeface="+mn-lt"/>
                <a:ea typeface="+mn-ea"/>
                <a:cs typeface="+mn-cs"/>
              </a:rPr>
              <a:t> de la </a:t>
            </a:r>
            <a:r>
              <a:rPr lang="en-US" sz="3200" dirty="0" err="1">
                <a:solidFill>
                  <a:srgbClr val="62AC1E"/>
                </a:solidFill>
                <a:latin typeface="+mn-lt"/>
                <a:ea typeface="+mn-ea"/>
                <a:cs typeface="+mn-cs"/>
              </a:rPr>
              <a:t>Ciencia</a:t>
            </a:r>
            <a:r>
              <a:rPr lang="en-US" sz="3200" dirty="0">
                <a:solidFill>
                  <a:srgbClr val="62AC1E"/>
                </a:solidFill>
                <a:latin typeface="+mn-lt"/>
                <a:ea typeface="+mn-ea"/>
                <a:cs typeface="+mn-cs"/>
              </a:rPr>
              <a:t> de </a:t>
            </a:r>
            <a:r>
              <a:rPr lang="en-US" sz="3200" dirty="0" err="1">
                <a:solidFill>
                  <a:srgbClr val="62AC1E"/>
                </a:solidFill>
                <a:latin typeface="+mn-lt"/>
                <a:ea typeface="+mn-ea"/>
                <a:cs typeface="+mn-cs"/>
              </a:rPr>
              <a:t>Datos</a:t>
            </a:r>
            <a:endParaRPr lang="es-ES" sz="3200" dirty="0">
              <a:solidFill>
                <a:srgbClr val="62AC1E"/>
              </a:solidFill>
              <a:latin typeface="+mn-lt"/>
              <a:ea typeface="+mn-ea"/>
              <a:cs typeface="+mn-cs"/>
            </a:endParaRPr>
          </a:p>
        </p:txBody>
      </p:sp>
      <p:pic>
        <p:nvPicPr>
          <p:cNvPr id="8" name="Shape 697"/>
          <p:cNvPicPr preferRelativeResize="0">
            <a:picLocks/>
          </p:cNvPicPr>
          <p:nvPr/>
        </p:nvPicPr>
        <p:blipFill rotWithShape="1">
          <a:blip r:embed="rId3">
            <a:alphaModFix/>
          </a:blip>
          <a:srcRect/>
          <a:stretch/>
        </p:blipFill>
        <p:spPr>
          <a:xfrm>
            <a:off x="579120" y="938048"/>
            <a:ext cx="11079480" cy="5112232"/>
          </a:xfrm>
          <a:prstGeom prst="rect">
            <a:avLst/>
          </a:prstGeom>
          <a:noFill/>
          <a:ln>
            <a:noFill/>
          </a:ln>
        </p:spPr>
      </p:pic>
      <p:sp>
        <p:nvSpPr>
          <p:cNvPr id="9" name="Shape 698">
            <a:hlinkClick r:id="rId4"/>
          </p:cNvPr>
          <p:cNvSpPr txBox="1"/>
          <p:nvPr/>
        </p:nvSpPr>
        <p:spPr>
          <a:xfrm>
            <a:off x="1935480" y="6438514"/>
            <a:ext cx="11033760" cy="464820"/>
          </a:xfrm>
          <a:prstGeom prst="rect">
            <a:avLst/>
          </a:prstGeom>
          <a:noFill/>
          <a:ln>
            <a:noFill/>
          </a:ln>
        </p:spPr>
        <p:txBody>
          <a:bodyPr spcFirstLastPara="1" wrap="square" lIns="68575" tIns="34275" rIns="68575" bIns="34275" anchor="t" anchorCtr="0">
            <a:noAutofit/>
          </a:bodyPr>
          <a:lstStyle/>
          <a:p>
            <a:r>
              <a:rPr lang="es" dirty="0">
                <a:solidFill>
                  <a:srgbClr val="5F5F5F"/>
                </a:solidFill>
                <a:sym typeface="Calibri"/>
              </a:rPr>
              <a:t>Fuente</a:t>
            </a:r>
            <a:r>
              <a:rPr lang="es" dirty="0">
                <a:solidFill>
                  <a:srgbClr val="666666"/>
                </a:solidFill>
                <a:ea typeface="Calibri"/>
                <a:cs typeface="Calibri"/>
                <a:sym typeface="Calibri"/>
              </a:rPr>
              <a:t>: </a:t>
            </a:r>
            <a:r>
              <a:rPr lang="es" dirty="0">
                <a:solidFill>
                  <a:srgbClr val="666666"/>
                </a:solidFill>
                <a:ea typeface="Calibri"/>
                <a:cs typeface="Calibri"/>
                <a:sym typeface="Calibri"/>
                <a:hlinkClick r:id="rId4"/>
              </a:rPr>
              <a:t>https://s3.amazonaws.com/assets.datacamp.com/blog_assets/Data-Science-Periodic-Table.pdf</a:t>
            </a:r>
            <a:endParaRPr dirty="0">
              <a:solidFill>
                <a:srgbClr val="666666"/>
              </a:solidFill>
              <a:ea typeface="Calibri"/>
              <a:cs typeface="Calibri"/>
              <a:sym typeface="Calibri"/>
            </a:endParaRPr>
          </a:p>
        </p:txBody>
      </p:sp>
    </p:spTree>
    <p:extLst>
      <p:ext uri="{BB962C8B-B14F-4D97-AF65-F5344CB8AC3E}">
        <p14:creationId xmlns:p14="http://schemas.microsoft.com/office/powerpoint/2010/main" val="408429117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 Título">
            <a:extLst>
              <a:ext uri="{FF2B5EF4-FFF2-40B4-BE49-F238E27FC236}">
                <a16:creationId xmlns:a16="http://schemas.microsoft.com/office/drawing/2014/main" id="{EBBDB5BE-5979-425C-9BC9-D34B03AEA95B}"/>
              </a:ext>
            </a:extLst>
          </p:cNvPr>
          <p:cNvSpPr txBox="1">
            <a:spLocks/>
          </p:cNvSpPr>
          <p:nvPr/>
        </p:nvSpPr>
        <p:spPr>
          <a:xfrm>
            <a:off x="634289" y="416017"/>
            <a:ext cx="11062867"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lvl="0" algn="l">
              <a:defRPr/>
            </a:pPr>
            <a:r>
              <a:rPr lang="en-US" sz="3200" dirty="0" err="1">
                <a:solidFill>
                  <a:srgbClr val="62AC1E"/>
                </a:solidFill>
                <a:latin typeface="+mn-lt"/>
                <a:ea typeface="+mn-ea"/>
                <a:cs typeface="+mn-cs"/>
              </a:rPr>
              <a:t>Tabla</a:t>
            </a:r>
            <a:r>
              <a:rPr lang="en-US" sz="3200" dirty="0">
                <a:solidFill>
                  <a:srgbClr val="62AC1E"/>
                </a:solidFill>
                <a:latin typeface="+mn-lt"/>
                <a:ea typeface="+mn-ea"/>
                <a:cs typeface="+mn-cs"/>
              </a:rPr>
              <a:t> </a:t>
            </a:r>
            <a:r>
              <a:rPr lang="en-US" sz="3200" dirty="0" err="1">
                <a:solidFill>
                  <a:srgbClr val="62AC1E"/>
                </a:solidFill>
                <a:latin typeface="+mn-lt"/>
                <a:ea typeface="+mn-ea"/>
                <a:cs typeface="+mn-cs"/>
              </a:rPr>
              <a:t>periódica</a:t>
            </a:r>
            <a:r>
              <a:rPr lang="en-US" sz="3200" dirty="0">
                <a:solidFill>
                  <a:srgbClr val="62AC1E"/>
                </a:solidFill>
                <a:latin typeface="+mn-lt"/>
                <a:ea typeface="+mn-ea"/>
                <a:cs typeface="+mn-cs"/>
              </a:rPr>
              <a:t> de la </a:t>
            </a:r>
            <a:r>
              <a:rPr lang="en-US" sz="3200" dirty="0" err="1">
                <a:solidFill>
                  <a:srgbClr val="62AC1E"/>
                </a:solidFill>
                <a:latin typeface="+mn-lt"/>
                <a:ea typeface="+mn-ea"/>
                <a:cs typeface="+mn-cs"/>
              </a:rPr>
              <a:t>Ciencia</a:t>
            </a:r>
            <a:r>
              <a:rPr lang="en-US" sz="3200" dirty="0">
                <a:solidFill>
                  <a:srgbClr val="62AC1E"/>
                </a:solidFill>
                <a:latin typeface="+mn-lt"/>
                <a:ea typeface="+mn-ea"/>
                <a:cs typeface="+mn-cs"/>
              </a:rPr>
              <a:t> de </a:t>
            </a:r>
            <a:r>
              <a:rPr lang="en-US" sz="3200" dirty="0" err="1">
                <a:solidFill>
                  <a:srgbClr val="62AC1E"/>
                </a:solidFill>
                <a:latin typeface="+mn-lt"/>
                <a:ea typeface="+mn-ea"/>
                <a:cs typeface="+mn-cs"/>
              </a:rPr>
              <a:t>Datos</a:t>
            </a:r>
            <a:endParaRPr lang="es-ES" sz="3200" dirty="0">
              <a:solidFill>
                <a:srgbClr val="62AC1E"/>
              </a:solidFill>
              <a:latin typeface="+mn-lt"/>
              <a:ea typeface="+mn-ea"/>
              <a:cs typeface="+mn-cs"/>
            </a:endParaRPr>
          </a:p>
        </p:txBody>
      </p:sp>
      <p:pic>
        <p:nvPicPr>
          <p:cNvPr id="10" name="Shape 704"/>
          <p:cNvPicPr preferRelativeResize="0">
            <a:picLocks/>
          </p:cNvPicPr>
          <p:nvPr/>
        </p:nvPicPr>
        <p:blipFill rotWithShape="1">
          <a:blip r:embed="rId3">
            <a:alphaModFix/>
          </a:blip>
          <a:srcRect l="4622" t="2127" r="5462" b="1470"/>
          <a:stretch/>
        </p:blipFill>
        <p:spPr>
          <a:xfrm>
            <a:off x="4460617" y="1097620"/>
            <a:ext cx="2875613" cy="5311398"/>
          </a:xfrm>
          <a:prstGeom prst="rect">
            <a:avLst/>
          </a:prstGeom>
          <a:noFill/>
          <a:ln>
            <a:noFill/>
          </a:ln>
        </p:spPr>
      </p:pic>
      <p:sp>
        <p:nvSpPr>
          <p:cNvPr id="11" name="Rectángulo 10">
            <a:extLst>
              <a:ext uri="{FF2B5EF4-FFF2-40B4-BE49-F238E27FC236}">
                <a16:creationId xmlns:a16="http://schemas.microsoft.com/office/drawing/2014/main" id="{05931DEE-0987-41CC-86AA-5461F6874F30}"/>
              </a:ext>
            </a:extLst>
          </p:cNvPr>
          <p:cNvSpPr/>
          <p:nvPr/>
        </p:nvSpPr>
        <p:spPr>
          <a:xfrm>
            <a:off x="634289" y="978852"/>
            <a:ext cx="8180221" cy="400110"/>
          </a:xfrm>
          <a:prstGeom prst="rect">
            <a:avLst/>
          </a:prstGeom>
        </p:spPr>
        <p:txBody>
          <a:bodyPr wrap="square">
            <a:spAutoFit/>
          </a:bodyPr>
          <a:lstStyle/>
          <a:p>
            <a:pPr>
              <a:defRPr/>
            </a:pPr>
            <a:r>
              <a:rPr lang="es-CO" sz="2000" dirty="0">
                <a:solidFill>
                  <a:srgbClr val="62AC1E"/>
                </a:solidFill>
              </a:rPr>
              <a:t>Cursos, </a:t>
            </a:r>
            <a:r>
              <a:rPr lang="es-CO" sz="2000" dirty="0" err="1">
                <a:solidFill>
                  <a:srgbClr val="62AC1E"/>
                </a:solidFill>
              </a:rPr>
              <a:t>bootcamps</a:t>
            </a:r>
            <a:r>
              <a:rPr lang="es-CO" sz="2000" dirty="0">
                <a:solidFill>
                  <a:srgbClr val="62AC1E"/>
                </a:solidFill>
              </a:rPr>
              <a:t> y conferencias</a:t>
            </a:r>
          </a:p>
        </p:txBody>
      </p:sp>
    </p:spTree>
    <p:extLst>
      <p:ext uri="{BB962C8B-B14F-4D97-AF65-F5344CB8AC3E}">
        <p14:creationId xmlns:p14="http://schemas.microsoft.com/office/powerpoint/2010/main" val="294364122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 Título">
            <a:extLst>
              <a:ext uri="{FF2B5EF4-FFF2-40B4-BE49-F238E27FC236}">
                <a16:creationId xmlns:a16="http://schemas.microsoft.com/office/drawing/2014/main" id="{EBBDB5BE-5979-425C-9BC9-D34B03AEA95B}"/>
              </a:ext>
            </a:extLst>
          </p:cNvPr>
          <p:cNvSpPr txBox="1">
            <a:spLocks/>
          </p:cNvSpPr>
          <p:nvPr/>
        </p:nvSpPr>
        <p:spPr>
          <a:xfrm>
            <a:off x="606225" y="363124"/>
            <a:ext cx="11062867"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lvl="0" algn="l">
              <a:defRPr/>
            </a:pPr>
            <a:r>
              <a:rPr lang="en-US" sz="3200" dirty="0" err="1">
                <a:solidFill>
                  <a:srgbClr val="62AC1E"/>
                </a:solidFill>
                <a:latin typeface="+mn-lt"/>
                <a:ea typeface="+mn-ea"/>
                <a:cs typeface="+mn-cs"/>
              </a:rPr>
              <a:t>Tabla</a:t>
            </a:r>
            <a:r>
              <a:rPr lang="en-US" sz="3200" dirty="0">
                <a:solidFill>
                  <a:srgbClr val="62AC1E"/>
                </a:solidFill>
                <a:latin typeface="+mn-lt"/>
                <a:ea typeface="+mn-ea"/>
                <a:cs typeface="+mn-cs"/>
              </a:rPr>
              <a:t> </a:t>
            </a:r>
            <a:r>
              <a:rPr lang="en-US" sz="3200" dirty="0" err="1">
                <a:solidFill>
                  <a:srgbClr val="62AC1E"/>
                </a:solidFill>
                <a:latin typeface="+mn-lt"/>
                <a:ea typeface="+mn-ea"/>
                <a:cs typeface="+mn-cs"/>
              </a:rPr>
              <a:t>periódica</a:t>
            </a:r>
            <a:r>
              <a:rPr lang="en-US" sz="3200" dirty="0">
                <a:solidFill>
                  <a:srgbClr val="62AC1E"/>
                </a:solidFill>
                <a:latin typeface="+mn-lt"/>
                <a:ea typeface="+mn-ea"/>
                <a:cs typeface="+mn-cs"/>
              </a:rPr>
              <a:t> de la </a:t>
            </a:r>
            <a:r>
              <a:rPr lang="en-US" sz="3200" dirty="0" err="1">
                <a:solidFill>
                  <a:srgbClr val="62AC1E"/>
                </a:solidFill>
                <a:latin typeface="+mn-lt"/>
                <a:ea typeface="+mn-ea"/>
                <a:cs typeface="+mn-cs"/>
              </a:rPr>
              <a:t>Ciencia</a:t>
            </a:r>
            <a:r>
              <a:rPr lang="en-US" sz="3200" dirty="0">
                <a:solidFill>
                  <a:srgbClr val="62AC1E"/>
                </a:solidFill>
                <a:latin typeface="+mn-lt"/>
                <a:ea typeface="+mn-ea"/>
                <a:cs typeface="+mn-cs"/>
              </a:rPr>
              <a:t> de </a:t>
            </a:r>
            <a:r>
              <a:rPr lang="en-US" sz="3200" dirty="0" err="1">
                <a:solidFill>
                  <a:srgbClr val="62AC1E"/>
                </a:solidFill>
                <a:latin typeface="+mn-lt"/>
                <a:ea typeface="+mn-ea"/>
                <a:cs typeface="+mn-cs"/>
              </a:rPr>
              <a:t>Datos</a:t>
            </a:r>
            <a:endParaRPr lang="es-ES" sz="3200" dirty="0">
              <a:solidFill>
                <a:srgbClr val="62AC1E"/>
              </a:solidFill>
              <a:latin typeface="+mn-lt"/>
              <a:ea typeface="+mn-ea"/>
              <a:cs typeface="+mn-cs"/>
            </a:endParaRPr>
          </a:p>
        </p:txBody>
      </p:sp>
      <p:sp>
        <p:nvSpPr>
          <p:cNvPr id="11" name="Rectángulo 10">
            <a:extLst>
              <a:ext uri="{FF2B5EF4-FFF2-40B4-BE49-F238E27FC236}">
                <a16:creationId xmlns:a16="http://schemas.microsoft.com/office/drawing/2014/main" id="{05931DEE-0987-41CC-86AA-5461F6874F30}"/>
              </a:ext>
            </a:extLst>
          </p:cNvPr>
          <p:cNvSpPr/>
          <p:nvPr/>
        </p:nvSpPr>
        <p:spPr>
          <a:xfrm>
            <a:off x="606225" y="925959"/>
            <a:ext cx="10503735" cy="400110"/>
          </a:xfrm>
          <a:prstGeom prst="rect">
            <a:avLst/>
          </a:prstGeom>
        </p:spPr>
        <p:txBody>
          <a:bodyPr wrap="square">
            <a:spAutoFit/>
          </a:bodyPr>
          <a:lstStyle/>
          <a:p>
            <a:pPr>
              <a:spcBef>
                <a:spcPts val="0"/>
              </a:spcBef>
              <a:buClr>
                <a:schemeClr val="dk1"/>
              </a:buClr>
            </a:pPr>
            <a:r>
              <a:rPr lang="en-US" sz="2000" dirty="0" err="1">
                <a:solidFill>
                  <a:srgbClr val="62AC1E"/>
                </a:solidFill>
                <a:sym typeface="Roboto Slab"/>
              </a:rPr>
              <a:t>Lenguajes</a:t>
            </a:r>
            <a:r>
              <a:rPr lang="en-US" sz="2000" dirty="0">
                <a:solidFill>
                  <a:srgbClr val="62AC1E"/>
                </a:solidFill>
                <a:sym typeface="Roboto Slab"/>
              </a:rPr>
              <a:t> de </a:t>
            </a:r>
            <a:r>
              <a:rPr lang="en-US" sz="2000" dirty="0" err="1">
                <a:solidFill>
                  <a:srgbClr val="62AC1E"/>
                </a:solidFill>
                <a:sym typeface="Roboto Slab"/>
              </a:rPr>
              <a:t>programación</a:t>
            </a:r>
            <a:r>
              <a:rPr lang="en-US" sz="2000" dirty="0">
                <a:solidFill>
                  <a:srgbClr val="62AC1E"/>
                </a:solidFill>
                <a:sym typeface="Roboto Slab"/>
              </a:rPr>
              <a:t> y </a:t>
            </a:r>
            <a:r>
              <a:rPr lang="en-US" sz="2000" dirty="0" err="1">
                <a:solidFill>
                  <a:srgbClr val="62AC1E"/>
                </a:solidFill>
                <a:sym typeface="Roboto Slab"/>
              </a:rPr>
              <a:t>distribuciones</a:t>
            </a:r>
            <a:r>
              <a:rPr lang="en-US" sz="2000" dirty="0">
                <a:solidFill>
                  <a:srgbClr val="62AC1E"/>
                </a:solidFill>
                <a:sym typeface="Roboto Slab"/>
              </a:rPr>
              <a:t>. </a:t>
            </a:r>
            <a:r>
              <a:rPr lang="en-US" sz="2000" dirty="0" err="1">
                <a:solidFill>
                  <a:srgbClr val="62AC1E"/>
                </a:solidFill>
                <a:sym typeface="Roboto Slab"/>
              </a:rPr>
              <a:t>Búsqueda</a:t>
            </a:r>
            <a:r>
              <a:rPr lang="en-US" sz="2000" dirty="0">
                <a:solidFill>
                  <a:srgbClr val="62AC1E"/>
                </a:solidFill>
                <a:sym typeface="Roboto Slab"/>
              </a:rPr>
              <a:t> y </a:t>
            </a:r>
            <a:r>
              <a:rPr lang="en-US" sz="2000" dirty="0" err="1">
                <a:solidFill>
                  <a:srgbClr val="62AC1E"/>
                </a:solidFill>
                <a:sym typeface="Roboto Slab"/>
              </a:rPr>
              <a:t>administración</a:t>
            </a:r>
            <a:r>
              <a:rPr lang="en-US" sz="2000" dirty="0">
                <a:solidFill>
                  <a:srgbClr val="62AC1E"/>
                </a:solidFill>
                <a:sym typeface="Roboto Slab"/>
              </a:rPr>
              <a:t> de </a:t>
            </a:r>
            <a:r>
              <a:rPr lang="en-US" sz="2000" dirty="0" err="1">
                <a:solidFill>
                  <a:srgbClr val="62AC1E"/>
                </a:solidFill>
                <a:sym typeface="Roboto Slab"/>
              </a:rPr>
              <a:t>datos</a:t>
            </a:r>
            <a:endParaRPr lang="es-CO" sz="2000" dirty="0">
              <a:solidFill>
                <a:srgbClr val="62AC1E"/>
              </a:solidFill>
            </a:endParaRPr>
          </a:p>
        </p:txBody>
      </p:sp>
      <p:pic>
        <p:nvPicPr>
          <p:cNvPr id="6" name="Shape 710"/>
          <p:cNvPicPr preferRelativeResize="0">
            <a:picLocks/>
          </p:cNvPicPr>
          <p:nvPr/>
        </p:nvPicPr>
        <p:blipFill rotWithShape="1">
          <a:blip r:embed="rId3">
            <a:alphaModFix/>
          </a:blip>
          <a:srcRect t="3908"/>
          <a:stretch/>
        </p:blipFill>
        <p:spPr>
          <a:xfrm>
            <a:off x="3308910" y="1387028"/>
            <a:ext cx="7801050" cy="4919201"/>
          </a:xfrm>
          <a:prstGeom prst="rect">
            <a:avLst/>
          </a:prstGeom>
          <a:noFill/>
          <a:ln>
            <a:noFill/>
          </a:ln>
        </p:spPr>
      </p:pic>
      <p:sp>
        <p:nvSpPr>
          <p:cNvPr id="2" name="Rectángulo 1"/>
          <p:cNvSpPr/>
          <p:nvPr/>
        </p:nvSpPr>
        <p:spPr>
          <a:xfrm>
            <a:off x="10012680" y="1265109"/>
            <a:ext cx="1097280" cy="899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Tree>
    <p:extLst>
      <p:ext uri="{BB962C8B-B14F-4D97-AF65-F5344CB8AC3E}">
        <p14:creationId xmlns:p14="http://schemas.microsoft.com/office/powerpoint/2010/main" val="205967926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 Título">
            <a:extLst>
              <a:ext uri="{FF2B5EF4-FFF2-40B4-BE49-F238E27FC236}">
                <a16:creationId xmlns:a16="http://schemas.microsoft.com/office/drawing/2014/main" id="{EBBDB5BE-5979-425C-9BC9-D34B03AEA95B}"/>
              </a:ext>
            </a:extLst>
          </p:cNvPr>
          <p:cNvSpPr txBox="1">
            <a:spLocks/>
          </p:cNvSpPr>
          <p:nvPr/>
        </p:nvSpPr>
        <p:spPr>
          <a:xfrm>
            <a:off x="606225" y="347884"/>
            <a:ext cx="11062867"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lvl="0" algn="l">
              <a:defRPr/>
            </a:pPr>
            <a:r>
              <a:rPr lang="en-US" sz="3200" dirty="0" err="1">
                <a:solidFill>
                  <a:srgbClr val="62AC1E"/>
                </a:solidFill>
                <a:latin typeface="+mn-lt"/>
                <a:ea typeface="+mn-ea"/>
                <a:cs typeface="+mn-cs"/>
              </a:rPr>
              <a:t>Tabla</a:t>
            </a:r>
            <a:r>
              <a:rPr lang="en-US" sz="3200" dirty="0">
                <a:solidFill>
                  <a:srgbClr val="62AC1E"/>
                </a:solidFill>
                <a:latin typeface="+mn-lt"/>
                <a:ea typeface="+mn-ea"/>
                <a:cs typeface="+mn-cs"/>
              </a:rPr>
              <a:t> </a:t>
            </a:r>
            <a:r>
              <a:rPr lang="en-US" sz="3200" dirty="0" err="1">
                <a:solidFill>
                  <a:srgbClr val="62AC1E"/>
                </a:solidFill>
                <a:latin typeface="+mn-lt"/>
                <a:ea typeface="+mn-ea"/>
                <a:cs typeface="+mn-cs"/>
              </a:rPr>
              <a:t>periódica</a:t>
            </a:r>
            <a:r>
              <a:rPr lang="en-US" sz="3200" dirty="0">
                <a:solidFill>
                  <a:srgbClr val="62AC1E"/>
                </a:solidFill>
                <a:latin typeface="+mn-lt"/>
                <a:ea typeface="+mn-ea"/>
                <a:cs typeface="+mn-cs"/>
              </a:rPr>
              <a:t> de la </a:t>
            </a:r>
            <a:r>
              <a:rPr lang="en-US" sz="3200" dirty="0" err="1">
                <a:solidFill>
                  <a:srgbClr val="62AC1E"/>
                </a:solidFill>
                <a:latin typeface="+mn-lt"/>
                <a:ea typeface="+mn-ea"/>
                <a:cs typeface="+mn-cs"/>
              </a:rPr>
              <a:t>Ciencia</a:t>
            </a:r>
            <a:r>
              <a:rPr lang="en-US" sz="3200" dirty="0">
                <a:solidFill>
                  <a:srgbClr val="62AC1E"/>
                </a:solidFill>
                <a:latin typeface="+mn-lt"/>
                <a:ea typeface="+mn-ea"/>
                <a:cs typeface="+mn-cs"/>
              </a:rPr>
              <a:t> de </a:t>
            </a:r>
            <a:r>
              <a:rPr lang="en-US" sz="3200" dirty="0" err="1">
                <a:solidFill>
                  <a:srgbClr val="62AC1E"/>
                </a:solidFill>
                <a:latin typeface="+mn-lt"/>
                <a:ea typeface="+mn-ea"/>
                <a:cs typeface="+mn-cs"/>
              </a:rPr>
              <a:t>Datos</a:t>
            </a:r>
            <a:endParaRPr lang="es-ES" sz="3200" dirty="0">
              <a:solidFill>
                <a:srgbClr val="62AC1E"/>
              </a:solidFill>
              <a:latin typeface="+mn-lt"/>
              <a:ea typeface="+mn-ea"/>
              <a:cs typeface="+mn-cs"/>
            </a:endParaRPr>
          </a:p>
        </p:txBody>
      </p:sp>
      <p:sp>
        <p:nvSpPr>
          <p:cNvPr id="11" name="Rectángulo 10">
            <a:extLst>
              <a:ext uri="{FF2B5EF4-FFF2-40B4-BE49-F238E27FC236}">
                <a16:creationId xmlns:a16="http://schemas.microsoft.com/office/drawing/2014/main" id="{05931DEE-0987-41CC-86AA-5461F6874F30}"/>
              </a:ext>
            </a:extLst>
          </p:cNvPr>
          <p:cNvSpPr/>
          <p:nvPr/>
        </p:nvSpPr>
        <p:spPr>
          <a:xfrm>
            <a:off x="606225" y="910719"/>
            <a:ext cx="10503735" cy="707886"/>
          </a:xfrm>
          <a:prstGeom prst="rect">
            <a:avLst/>
          </a:prstGeom>
        </p:spPr>
        <p:txBody>
          <a:bodyPr wrap="square">
            <a:spAutoFit/>
          </a:bodyPr>
          <a:lstStyle/>
          <a:p>
            <a:pPr>
              <a:buClr>
                <a:schemeClr val="dk1"/>
              </a:buClr>
            </a:pPr>
            <a:r>
              <a:rPr lang="en-US" sz="2000" dirty="0">
                <a:solidFill>
                  <a:srgbClr val="62AC1E"/>
                </a:solidFill>
                <a:sym typeface="Roboto Slab"/>
              </a:rPr>
              <a:t>Frameworks de </a:t>
            </a:r>
            <a:r>
              <a:rPr lang="en-US" sz="2000" dirty="0" err="1">
                <a:solidFill>
                  <a:srgbClr val="62AC1E"/>
                </a:solidFill>
                <a:sym typeface="Roboto Slab"/>
              </a:rPr>
              <a:t>Aprendizaje</a:t>
            </a:r>
            <a:r>
              <a:rPr lang="en-US" sz="2000" dirty="0">
                <a:solidFill>
                  <a:srgbClr val="62AC1E"/>
                </a:solidFill>
                <a:sym typeface="Roboto Slab"/>
              </a:rPr>
              <a:t> de </a:t>
            </a:r>
            <a:r>
              <a:rPr lang="en-US" sz="2000" dirty="0" err="1">
                <a:solidFill>
                  <a:srgbClr val="62AC1E"/>
                </a:solidFill>
                <a:sym typeface="Roboto Slab"/>
              </a:rPr>
              <a:t>máquina</a:t>
            </a:r>
            <a:r>
              <a:rPr lang="en-US" sz="2000" dirty="0">
                <a:solidFill>
                  <a:srgbClr val="62AC1E"/>
                </a:solidFill>
                <a:sym typeface="Roboto Slab"/>
              </a:rPr>
              <a:t> y </a:t>
            </a:r>
            <a:r>
              <a:rPr lang="en-US" sz="2000" dirty="0" err="1">
                <a:solidFill>
                  <a:srgbClr val="62AC1E"/>
                </a:solidFill>
                <a:sym typeface="Roboto Slab"/>
              </a:rPr>
              <a:t>Herramientas</a:t>
            </a:r>
            <a:r>
              <a:rPr lang="en-US" sz="2000" dirty="0">
                <a:solidFill>
                  <a:srgbClr val="62AC1E"/>
                </a:solidFill>
                <a:sym typeface="Roboto Slab"/>
              </a:rPr>
              <a:t> de </a:t>
            </a:r>
            <a:r>
              <a:rPr lang="en-US" sz="2000" dirty="0" err="1">
                <a:solidFill>
                  <a:srgbClr val="62AC1E"/>
                </a:solidFill>
                <a:sym typeface="Roboto Slab"/>
              </a:rPr>
              <a:t>Visualización</a:t>
            </a:r>
            <a:endParaRPr lang="en-US" sz="2000" dirty="0">
              <a:solidFill>
                <a:srgbClr val="62AC1E"/>
              </a:solidFill>
              <a:sym typeface="Roboto Slab"/>
            </a:endParaRPr>
          </a:p>
          <a:p>
            <a:pPr>
              <a:spcBef>
                <a:spcPts val="0"/>
              </a:spcBef>
              <a:buClr>
                <a:schemeClr val="dk1"/>
              </a:buClr>
            </a:pPr>
            <a:endParaRPr lang="es-CO" sz="2000" dirty="0">
              <a:solidFill>
                <a:srgbClr val="62AC1E"/>
              </a:solidFill>
            </a:endParaRPr>
          </a:p>
        </p:txBody>
      </p:sp>
      <p:pic>
        <p:nvPicPr>
          <p:cNvPr id="8" name="Shape 716"/>
          <p:cNvPicPr preferRelativeResize="0"/>
          <p:nvPr/>
        </p:nvPicPr>
        <p:blipFill rotWithShape="1">
          <a:blip r:embed="rId3">
            <a:alphaModFix/>
          </a:blip>
          <a:srcRect/>
          <a:stretch/>
        </p:blipFill>
        <p:spPr>
          <a:xfrm>
            <a:off x="3398521" y="1264920"/>
            <a:ext cx="7452360" cy="5067927"/>
          </a:xfrm>
          <a:prstGeom prst="rect">
            <a:avLst/>
          </a:prstGeom>
          <a:noFill/>
          <a:ln>
            <a:noFill/>
          </a:ln>
        </p:spPr>
      </p:pic>
      <p:pic>
        <p:nvPicPr>
          <p:cNvPr id="2" name="Imagen 1"/>
          <p:cNvPicPr>
            <a:picLocks noChangeAspect="1"/>
          </p:cNvPicPr>
          <p:nvPr/>
        </p:nvPicPr>
        <p:blipFill>
          <a:blip r:embed="rId4"/>
          <a:stretch>
            <a:fillRect/>
          </a:stretch>
        </p:blipFill>
        <p:spPr>
          <a:xfrm>
            <a:off x="2259965" y="1363722"/>
            <a:ext cx="1138556" cy="830838"/>
          </a:xfrm>
          <a:prstGeom prst="rect">
            <a:avLst/>
          </a:prstGeom>
        </p:spPr>
      </p:pic>
    </p:spTree>
    <p:extLst>
      <p:ext uri="{BB962C8B-B14F-4D97-AF65-F5344CB8AC3E}">
        <p14:creationId xmlns:p14="http://schemas.microsoft.com/office/powerpoint/2010/main" val="32413388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a:extLst>
              <a:ext uri="{FF2B5EF4-FFF2-40B4-BE49-F238E27FC236}">
                <a16:creationId xmlns:a16="http://schemas.microsoft.com/office/drawing/2014/main" id="{C86440B3-58DF-4235-8981-CE33DBAF893C}"/>
              </a:ext>
            </a:extLst>
          </p:cNvPr>
          <p:cNvSpPr txBox="1">
            <a:spLocks/>
          </p:cNvSpPr>
          <p:nvPr/>
        </p:nvSpPr>
        <p:spPr>
          <a:xfrm>
            <a:off x="629966" y="302767"/>
            <a:ext cx="11062867"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marL="0" marR="0" lvl="0" indent="0" algn="l" defTabSz="914400" rtl="0" eaLnBrk="1" fontAlgn="auto" latinLnBrk="0" hangingPunct="1">
              <a:lnSpc>
                <a:spcPts val="4000"/>
              </a:lnSpc>
              <a:spcBef>
                <a:spcPct val="0"/>
              </a:spcBef>
              <a:spcAft>
                <a:spcPts val="0"/>
              </a:spcAft>
              <a:buClrTx/>
              <a:buSzTx/>
              <a:buFontTx/>
              <a:buNone/>
              <a:tabLst/>
              <a:defRPr/>
            </a:pPr>
            <a:r>
              <a:rPr lang="es-ES" sz="3200" dirty="0" smtClean="0">
                <a:solidFill>
                  <a:srgbClr val="62AC1E"/>
                </a:solidFill>
                <a:latin typeface="+mn-lt"/>
                <a:ea typeface="+mn-ea"/>
                <a:cs typeface="+mn-cs"/>
              </a:rPr>
              <a:t>Dos hitos en el desarrollo de la Inteligencia Artificial</a:t>
            </a:r>
            <a:endParaRPr lang="es-ES" sz="3200" dirty="0">
              <a:solidFill>
                <a:srgbClr val="62AC1E"/>
              </a:solidFill>
              <a:latin typeface="+mn-lt"/>
              <a:ea typeface="+mn-ea"/>
              <a:cs typeface="+mn-cs"/>
            </a:endParaRPr>
          </a:p>
        </p:txBody>
      </p:sp>
      <p:sp>
        <p:nvSpPr>
          <p:cNvPr id="22" name="Rectángulo 21">
            <a:hlinkClick r:id="rId3" action="ppaction://hlinksldjump"/>
            <a:extLst>
              <a:ext uri="{FF2B5EF4-FFF2-40B4-BE49-F238E27FC236}">
                <a16:creationId xmlns:a16="http://schemas.microsoft.com/office/drawing/2014/main" id="{D74CF98F-7C90-458D-9C1B-84ACBD608615}"/>
              </a:ext>
            </a:extLst>
          </p:cNvPr>
          <p:cNvSpPr/>
          <p:nvPr/>
        </p:nvSpPr>
        <p:spPr>
          <a:xfrm>
            <a:off x="11126560" y="22705"/>
            <a:ext cx="942535" cy="534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2" name="Imagen 1"/>
          <p:cNvPicPr>
            <a:picLocks noChangeAspect="1"/>
          </p:cNvPicPr>
          <p:nvPr/>
        </p:nvPicPr>
        <p:blipFill>
          <a:blip r:embed="rId4"/>
          <a:stretch>
            <a:fillRect/>
          </a:stretch>
        </p:blipFill>
        <p:spPr>
          <a:xfrm>
            <a:off x="1202156" y="2506829"/>
            <a:ext cx="9563100" cy="1266825"/>
          </a:xfrm>
          <a:prstGeom prst="rect">
            <a:avLst/>
          </a:prstGeom>
        </p:spPr>
      </p:pic>
    </p:spTree>
    <p:extLst>
      <p:ext uri="{BB962C8B-B14F-4D97-AF65-F5344CB8AC3E}">
        <p14:creationId xmlns:p14="http://schemas.microsoft.com/office/powerpoint/2010/main" val="174919587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 Título">
            <a:extLst>
              <a:ext uri="{FF2B5EF4-FFF2-40B4-BE49-F238E27FC236}">
                <a16:creationId xmlns:a16="http://schemas.microsoft.com/office/drawing/2014/main" id="{EBBDB5BE-5979-425C-9BC9-D34B03AEA95B}"/>
              </a:ext>
            </a:extLst>
          </p:cNvPr>
          <p:cNvSpPr txBox="1">
            <a:spLocks/>
          </p:cNvSpPr>
          <p:nvPr/>
        </p:nvSpPr>
        <p:spPr>
          <a:xfrm>
            <a:off x="575745" y="370296"/>
            <a:ext cx="11062867"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lvl="0" algn="l">
              <a:defRPr/>
            </a:pPr>
            <a:r>
              <a:rPr lang="en-US" sz="3200" dirty="0" err="1">
                <a:solidFill>
                  <a:srgbClr val="62AC1E"/>
                </a:solidFill>
                <a:latin typeface="+mn-lt"/>
                <a:ea typeface="+mn-ea"/>
                <a:cs typeface="+mn-cs"/>
              </a:rPr>
              <a:t>Tabla</a:t>
            </a:r>
            <a:r>
              <a:rPr lang="en-US" sz="3200" dirty="0">
                <a:solidFill>
                  <a:srgbClr val="62AC1E"/>
                </a:solidFill>
                <a:latin typeface="+mn-lt"/>
                <a:ea typeface="+mn-ea"/>
                <a:cs typeface="+mn-cs"/>
              </a:rPr>
              <a:t> </a:t>
            </a:r>
            <a:r>
              <a:rPr lang="en-US" sz="3200" dirty="0" err="1">
                <a:solidFill>
                  <a:srgbClr val="62AC1E"/>
                </a:solidFill>
                <a:latin typeface="+mn-lt"/>
                <a:ea typeface="+mn-ea"/>
                <a:cs typeface="+mn-cs"/>
              </a:rPr>
              <a:t>periódica</a:t>
            </a:r>
            <a:r>
              <a:rPr lang="en-US" sz="3200" dirty="0">
                <a:solidFill>
                  <a:srgbClr val="62AC1E"/>
                </a:solidFill>
                <a:latin typeface="+mn-lt"/>
                <a:ea typeface="+mn-ea"/>
                <a:cs typeface="+mn-cs"/>
              </a:rPr>
              <a:t> de la </a:t>
            </a:r>
            <a:r>
              <a:rPr lang="en-US" sz="3200" dirty="0" err="1">
                <a:solidFill>
                  <a:srgbClr val="62AC1E"/>
                </a:solidFill>
                <a:latin typeface="+mn-lt"/>
                <a:ea typeface="+mn-ea"/>
                <a:cs typeface="+mn-cs"/>
              </a:rPr>
              <a:t>Ciencia</a:t>
            </a:r>
            <a:r>
              <a:rPr lang="en-US" sz="3200" dirty="0">
                <a:solidFill>
                  <a:srgbClr val="62AC1E"/>
                </a:solidFill>
                <a:latin typeface="+mn-lt"/>
                <a:ea typeface="+mn-ea"/>
                <a:cs typeface="+mn-cs"/>
              </a:rPr>
              <a:t> de </a:t>
            </a:r>
            <a:r>
              <a:rPr lang="en-US" sz="3200" dirty="0" err="1">
                <a:solidFill>
                  <a:srgbClr val="62AC1E"/>
                </a:solidFill>
                <a:latin typeface="+mn-lt"/>
                <a:ea typeface="+mn-ea"/>
                <a:cs typeface="+mn-cs"/>
              </a:rPr>
              <a:t>Datos</a:t>
            </a:r>
            <a:endParaRPr lang="es-ES" sz="3200" dirty="0">
              <a:solidFill>
                <a:srgbClr val="62AC1E"/>
              </a:solidFill>
              <a:latin typeface="+mn-lt"/>
              <a:ea typeface="+mn-ea"/>
              <a:cs typeface="+mn-cs"/>
            </a:endParaRPr>
          </a:p>
        </p:txBody>
      </p:sp>
      <p:sp>
        <p:nvSpPr>
          <p:cNvPr id="11" name="Rectángulo 10">
            <a:extLst>
              <a:ext uri="{FF2B5EF4-FFF2-40B4-BE49-F238E27FC236}">
                <a16:creationId xmlns:a16="http://schemas.microsoft.com/office/drawing/2014/main" id="{05931DEE-0987-41CC-86AA-5461F6874F30}"/>
              </a:ext>
            </a:extLst>
          </p:cNvPr>
          <p:cNvSpPr/>
          <p:nvPr/>
        </p:nvSpPr>
        <p:spPr>
          <a:xfrm>
            <a:off x="575745" y="933131"/>
            <a:ext cx="10503735" cy="400110"/>
          </a:xfrm>
          <a:prstGeom prst="rect">
            <a:avLst/>
          </a:prstGeom>
        </p:spPr>
        <p:txBody>
          <a:bodyPr wrap="square">
            <a:spAutoFit/>
          </a:bodyPr>
          <a:lstStyle/>
          <a:p>
            <a:pPr>
              <a:buClr>
                <a:schemeClr val="dk1"/>
              </a:buClr>
            </a:pPr>
            <a:r>
              <a:rPr lang="es-CO" sz="2000" dirty="0" err="1">
                <a:solidFill>
                  <a:srgbClr val="62AC1E"/>
                </a:solidFill>
                <a:sym typeface="Roboto Slab"/>
              </a:rPr>
              <a:t>IDEs</a:t>
            </a:r>
            <a:r>
              <a:rPr lang="es-CO" sz="2000" dirty="0">
                <a:solidFill>
                  <a:srgbClr val="62AC1E"/>
                </a:solidFill>
                <a:sym typeface="Roboto Slab"/>
              </a:rPr>
              <a:t> y herramientas colaborativas</a:t>
            </a:r>
            <a:endParaRPr lang="es-CO" sz="2000" dirty="0">
              <a:solidFill>
                <a:srgbClr val="62AC1E"/>
              </a:solidFill>
            </a:endParaRPr>
          </a:p>
        </p:txBody>
      </p:sp>
      <p:pic>
        <p:nvPicPr>
          <p:cNvPr id="6" name="Shape 722"/>
          <p:cNvPicPr preferRelativeResize="0">
            <a:picLocks/>
          </p:cNvPicPr>
          <p:nvPr/>
        </p:nvPicPr>
        <p:blipFill rotWithShape="1">
          <a:blip r:embed="rId3">
            <a:alphaModFix/>
          </a:blip>
          <a:srcRect/>
          <a:stretch/>
        </p:blipFill>
        <p:spPr>
          <a:xfrm>
            <a:off x="4704470" y="1138423"/>
            <a:ext cx="3128890" cy="5164049"/>
          </a:xfrm>
          <a:prstGeom prst="rect">
            <a:avLst/>
          </a:prstGeom>
          <a:noFill/>
          <a:ln>
            <a:noFill/>
          </a:ln>
        </p:spPr>
      </p:pic>
    </p:spTree>
    <p:extLst>
      <p:ext uri="{BB962C8B-B14F-4D97-AF65-F5344CB8AC3E}">
        <p14:creationId xmlns:p14="http://schemas.microsoft.com/office/powerpoint/2010/main" val="381164041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 Título">
            <a:extLst>
              <a:ext uri="{FF2B5EF4-FFF2-40B4-BE49-F238E27FC236}">
                <a16:creationId xmlns:a16="http://schemas.microsoft.com/office/drawing/2014/main" id="{EBBDB5BE-5979-425C-9BC9-D34B03AEA95B}"/>
              </a:ext>
            </a:extLst>
          </p:cNvPr>
          <p:cNvSpPr txBox="1">
            <a:spLocks/>
          </p:cNvSpPr>
          <p:nvPr/>
        </p:nvSpPr>
        <p:spPr>
          <a:xfrm>
            <a:off x="789105" y="283772"/>
            <a:ext cx="11062867"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lvl="0" algn="l">
              <a:defRPr/>
            </a:pPr>
            <a:r>
              <a:rPr lang="en-US" sz="3200" dirty="0" err="1">
                <a:solidFill>
                  <a:srgbClr val="62AC1E"/>
                </a:solidFill>
                <a:latin typeface="+mn-lt"/>
                <a:ea typeface="+mn-ea"/>
                <a:cs typeface="+mn-cs"/>
              </a:rPr>
              <a:t>Tabla</a:t>
            </a:r>
            <a:r>
              <a:rPr lang="en-US" sz="3200" dirty="0">
                <a:solidFill>
                  <a:srgbClr val="62AC1E"/>
                </a:solidFill>
                <a:latin typeface="+mn-lt"/>
                <a:ea typeface="+mn-ea"/>
                <a:cs typeface="+mn-cs"/>
              </a:rPr>
              <a:t> </a:t>
            </a:r>
            <a:r>
              <a:rPr lang="en-US" sz="3200" dirty="0" err="1">
                <a:solidFill>
                  <a:srgbClr val="62AC1E"/>
                </a:solidFill>
                <a:latin typeface="+mn-lt"/>
                <a:ea typeface="+mn-ea"/>
                <a:cs typeface="+mn-cs"/>
              </a:rPr>
              <a:t>periódica</a:t>
            </a:r>
            <a:r>
              <a:rPr lang="en-US" sz="3200" dirty="0">
                <a:solidFill>
                  <a:srgbClr val="62AC1E"/>
                </a:solidFill>
                <a:latin typeface="+mn-lt"/>
                <a:ea typeface="+mn-ea"/>
                <a:cs typeface="+mn-cs"/>
              </a:rPr>
              <a:t> de la </a:t>
            </a:r>
            <a:r>
              <a:rPr lang="en-US" sz="3200" dirty="0" err="1">
                <a:solidFill>
                  <a:srgbClr val="62AC1E"/>
                </a:solidFill>
                <a:latin typeface="+mn-lt"/>
                <a:ea typeface="+mn-ea"/>
                <a:cs typeface="+mn-cs"/>
              </a:rPr>
              <a:t>Ciencia</a:t>
            </a:r>
            <a:r>
              <a:rPr lang="en-US" sz="3200" dirty="0">
                <a:solidFill>
                  <a:srgbClr val="62AC1E"/>
                </a:solidFill>
                <a:latin typeface="+mn-lt"/>
                <a:ea typeface="+mn-ea"/>
                <a:cs typeface="+mn-cs"/>
              </a:rPr>
              <a:t> de </a:t>
            </a:r>
            <a:r>
              <a:rPr lang="en-US" sz="3200" dirty="0" err="1">
                <a:solidFill>
                  <a:srgbClr val="62AC1E"/>
                </a:solidFill>
                <a:latin typeface="+mn-lt"/>
                <a:ea typeface="+mn-ea"/>
                <a:cs typeface="+mn-cs"/>
              </a:rPr>
              <a:t>Datos</a:t>
            </a:r>
            <a:endParaRPr lang="es-ES" sz="3200" dirty="0">
              <a:solidFill>
                <a:srgbClr val="62AC1E"/>
              </a:solidFill>
              <a:latin typeface="+mn-lt"/>
              <a:ea typeface="+mn-ea"/>
              <a:cs typeface="+mn-cs"/>
            </a:endParaRPr>
          </a:p>
        </p:txBody>
      </p:sp>
      <p:sp>
        <p:nvSpPr>
          <p:cNvPr id="11" name="Rectángulo 10">
            <a:extLst>
              <a:ext uri="{FF2B5EF4-FFF2-40B4-BE49-F238E27FC236}">
                <a16:creationId xmlns:a16="http://schemas.microsoft.com/office/drawing/2014/main" id="{05931DEE-0987-41CC-86AA-5461F6874F30}"/>
              </a:ext>
            </a:extLst>
          </p:cNvPr>
          <p:cNvSpPr/>
          <p:nvPr/>
        </p:nvSpPr>
        <p:spPr>
          <a:xfrm>
            <a:off x="789105" y="846607"/>
            <a:ext cx="10503735" cy="400110"/>
          </a:xfrm>
          <a:prstGeom prst="rect">
            <a:avLst/>
          </a:prstGeom>
        </p:spPr>
        <p:txBody>
          <a:bodyPr wrap="square">
            <a:spAutoFit/>
          </a:bodyPr>
          <a:lstStyle/>
          <a:p>
            <a:pPr>
              <a:buClr>
                <a:schemeClr val="dk1"/>
              </a:buClr>
            </a:pPr>
            <a:r>
              <a:rPr lang="es-CO" sz="2000" dirty="0">
                <a:solidFill>
                  <a:srgbClr val="62AC1E"/>
                </a:solidFill>
                <a:sym typeface="Roboto Slab"/>
              </a:rPr>
              <a:t>Fuentes de datos y retos</a:t>
            </a:r>
            <a:endParaRPr lang="es-CO" sz="2000" dirty="0">
              <a:solidFill>
                <a:srgbClr val="62AC1E"/>
              </a:solidFill>
            </a:endParaRPr>
          </a:p>
        </p:txBody>
      </p:sp>
      <p:pic>
        <p:nvPicPr>
          <p:cNvPr id="8" name="Shape 728"/>
          <p:cNvPicPr preferRelativeResize="0">
            <a:picLocks/>
          </p:cNvPicPr>
          <p:nvPr/>
        </p:nvPicPr>
        <p:blipFill rotWithShape="1">
          <a:blip r:embed="rId3">
            <a:alphaModFix/>
          </a:blip>
          <a:srcRect/>
          <a:stretch/>
        </p:blipFill>
        <p:spPr>
          <a:xfrm>
            <a:off x="1893764" y="2286000"/>
            <a:ext cx="8754248" cy="2154936"/>
          </a:xfrm>
          <a:prstGeom prst="rect">
            <a:avLst/>
          </a:prstGeom>
          <a:noFill/>
          <a:ln>
            <a:noFill/>
          </a:ln>
        </p:spPr>
      </p:pic>
    </p:spTree>
    <p:extLst>
      <p:ext uri="{BB962C8B-B14F-4D97-AF65-F5344CB8AC3E}">
        <p14:creationId xmlns:p14="http://schemas.microsoft.com/office/powerpoint/2010/main" val="379593662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 Título">
            <a:extLst>
              <a:ext uri="{FF2B5EF4-FFF2-40B4-BE49-F238E27FC236}">
                <a16:creationId xmlns:a16="http://schemas.microsoft.com/office/drawing/2014/main" id="{EBBDB5BE-5979-425C-9BC9-D34B03AEA95B}"/>
              </a:ext>
            </a:extLst>
          </p:cNvPr>
          <p:cNvSpPr txBox="1">
            <a:spLocks/>
          </p:cNvSpPr>
          <p:nvPr/>
        </p:nvSpPr>
        <p:spPr>
          <a:xfrm>
            <a:off x="728145" y="321941"/>
            <a:ext cx="11062867"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lvl="0" algn="l">
              <a:defRPr/>
            </a:pPr>
            <a:r>
              <a:rPr lang="en-US" sz="3200" dirty="0" err="1">
                <a:solidFill>
                  <a:srgbClr val="62AC1E"/>
                </a:solidFill>
                <a:latin typeface="+mn-lt"/>
                <a:ea typeface="+mn-ea"/>
                <a:cs typeface="+mn-cs"/>
              </a:rPr>
              <a:t>Tabla</a:t>
            </a:r>
            <a:r>
              <a:rPr lang="en-US" sz="3200" dirty="0">
                <a:solidFill>
                  <a:srgbClr val="62AC1E"/>
                </a:solidFill>
                <a:latin typeface="+mn-lt"/>
                <a:ea typeface="+mn-ea"/>
                <a:cs typeface="+mn-cs"/>
              </a:rPr>
              <a:t> </a:t>
            </a:r>
            <a:r>
              <a:rPr lang="en-US" sz="3200" dirty="0" err="1">
                <a:solidFill>
                  <a:srgbClr val="62AC1E"/>
                </a:solidFill>
                <a:latin typeface="+mn-lt"/>
                <a:ea typeface="+mn-ea"/>
                <a:cs typeface="+mn-cs"/>
              </a:rPr>
              <a:t>periódica</a:t>
            </a:r>
            <a:r>
              <a:rPr lang="en-US" sz="3200" dirty="0">
                <a:solidFill>
                  <a:srgbClr val="62AC1E"/>
                </a:solidFill>
                <a:latin typeface="+mn-lt"/>
                <a:ea typeface="+mn-ea"/>
                <a:cs typeface="+mn-cs"/>
              </a:rPr>
              <a:t> de la </a:t>
            </a:r>
            <a:r>
              <a:rPr lang="en-US" sz="3200" dirty="0" err="1">
                <a:solidFill>
                  <a:srgbClr val="62AC1E"/>
                </a:solidFill>
                <a:latin typeface="+mn-lt"/>
                <a:ea typeface="+mn-ea"/>
                <a:cs typeface="+mn-cs"/>
              </a:rPr>
              <a:t>Ciencia</a:t>
            </a:r>
            <a:r>
              <a:rPr lang="en-US" sz="3200" dirty="0">
                <a:solidFill>
                  <a:srgbClr val="62AC1E"/>
                </a:solidFill>
                <a:latin typeface="+mn-lt"/>
                <a:ea typeface="+mn-ea"/>
                <a:cs typeface="+mn-cs"/>
              </a:rPr>
              <a:t> de </a:t>
            </a:r>
            <a:r>
              <a:rPr lang="en-US" sz="3200" dirty="0" err="1">
                <a:solidFill>
                  <a:srgbClr val="62AC1E"/>
                </a:solidFill>
                <a:latin typeface="+mn-lt"/>
                <a:ea typeface="+mn-ea"/>
                <a:cs typeface="+mn-cs"/>
              </a:rPr>
              <a:t>Datos</a:t>
            </a:r>
            <a:endParaRPr lang="es-ES" sz="3200" dirty="0">
              <a:solidFill>
                <a:srgbClr val="62AC1E"/>
              </a:solidFill>
              <a:latin typeface="+mn-lt"/>
              <a:ea typeface="+mn-ea"/>
              <a:cs typeface="+mn-cs"/>
            </a:endParaRPr>
          </a:p>
        </p:txBody>
      </p:sp>
      <p:sp>
        <p:nvSpPr>
          <p:cNvPr id="11" name="Rectángulo 10">
            <a:extLst>
              <a:ext uri="{FF2B5EF4-FFF2-40B4-BE49-F238E27FC236}">
                <a16:creationId xmlns:a16="http://schemas.microsoft.com/office/drawing/2014/main" id="{05931DEE-0987-41CC-86AA-5461F6874F30}"/>
              </a:ext>
            </a:extLst>
          </p:cNvPr>
          <p:cNvSpPr/>
          <p:nvPr/>
        </p:nvSpPr>
        <p:spPr>
          <a:xfrm>
            <a:off x="728145" y="884776"/>
            <a:ext cx="10503735" cy="400110"/>
          </a:xfrm>
          <a:prstGeom prst="rect">
            <a:avLst/>
          </a:prstGeom>
        </p:spPr>
        <p:txBody>
          <a:bodyPr wrap="square">
            <a:spAutoFit/>
          </a:bodyPr>
          <a:lstStyle/>
          <a:p>
            <a:pPr>
              <a:buClr>
                <a:schemeClr val="dk1"/>
              </a:buClr>
            </a:pPr>
            <a:r>
              <a:rPr lang="es-CO" sz="2000" dirty="0">
                <a:solidFill>
                  <a:srgbClr val="62AC1E"/>
                </a:solidFill>
                <a:sym typeface="Roboto Slab"/>
              </a:rPr>
              <a:t>Comunidad</a:t>
            </a:r>
            <a:endParaRPr lang="es-CO" sz="2000" dirty="0">
              <a:solidFill>
                <a:srgbClr val="62AC1E"/>
              </a:solidFill>
            </a:endParaRPr>
          </a:p>
        </p:txBody>
      </p:sp>
      <p:pic>
        <p:nvPicPr>
          <p:cNvPr id="6" name="Shape 734"/>
          <p:cNvPicPr preferRelativeResize="0">
            <a:picLocks/>
          </p:cNvPicPr>
          <p:nvPr/>
        </p:nvPicPr>
        <p:blipFill rotWithShape="1">
          <a:blip r:embed="rId3">
            <a:alphaModFix/>
          </a:blip>
          <a:srcRect/>
          <a:stretch/>
        </p:blipFill>
        <p:spPr>
          <a:xfrm>
            <a:off x="1703472" y="2316480"/>
            <a:ext cx="9071208" cy="2398777"/>
          </a:xfrm>
          <a:prstGeom prst="rect">
            <a:avLst/>
          </a:prstGeom>
          <a:noFill/>
          <a:ln>
            <a:noFill/>
          </a:ln>
        </p:spPr>
      </p:pic>
    </p:spTree>
    <p:extLst>
      <p:ext uri="{BB962C8B-B14F-4D97-AF65-F5344CB8AC3E}">
        <p14:creationId xmlns:p14="http://schemas.microsoft.com/office/powerpoint/2010/main" val="177857513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 Título">
            <a:extLst>
              <a:ext uri="{FF2B5EF4-FFF2-40B4-BE49-F238E27FC236}">
                <a16:creationId xmlns:a16="http://schemas.microsoft.com/office/drawing/2014/main" id="{EBBDB5BE-5979-425C-9BC9-D34B03AEA95B}"/>
              </a:ext>
            </a:extLst>
          </p:cNvPr>
          <p:cNvSpPr txBox="1">
            <a:spLocks/>
          </p:cNvSpPr>
          <p:nvPr/>
        </p:nvSpPr>
        <p:spPr>
          <a:xfrm>
            <a:off x="756756" y="332644"/>
            <a:ext cx="11062867"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lvl="0" algn="l">
              <a:defRPr/>
            </a:pPr>
            <a:r>
              <a:rPr lang="en-US" sz="3200" dirty="0" err="1">
                <a:solidFill>
                  <a:srgbClr val="62AC1E"/>
                </a:solidFill>
                <a:latin typeface="+mn-lt"/>
                <a:ea typeface="+mn-ea"/>
                <a:cs typeface="+mn-cs"/>
              </a:rPr>
              <a:t>Tabla</a:t>
            </a:r>
            <a:r>
              <a:rPr lang="en-US" sz="3200" dirty="0">
                <a:solidFill>
                  <a:srgbClr val="62AC1E"/>
                </a:solidFill>
                <a:latin typeface="+mn-lt"/>
                <a:ea typeface="+mn-ea"/>
                <a:cs typeface="+mn-cs"/>
              </a:rPr>
              <a:t> </a:t>
            </a:r>
            <a:r>
              <a:rPr lang="en-US" sz="3200" dirty="0" err="1">
                <a:solidFill>
                  <a:srgbClr val="62AC1E"/>
                </a:solidFill>
                <a:latin typeface="+mn-lt"/>
                <a:ea typeface="+mn-ea"/>
                <a:cs typeface="+mn-cs"/>
              </a:rPr>
              <a:t>periódica</a:t>
            </a:r>
            <a:r>
              <a:rPr lang="en-US" sz="3200" dirty="0">
                <a:solidFill>
                  <a:srgbClr val="62AC1E"/>
                </a:solidFill>
                <a:latin typeface="+mn-lt"/>
                <a:ea typeface="+mn-ea"/>
                <a:cs typeface="+mn-cs"/>
              </a:rPr>
              <a:t> de la </a:t>
            </a:r>
            <a:r>
              <a:rPr lang="en-US" sz="3200" dirty="0" err="1">
                <a:solidFill>
                  <a:srgbClr val="62AC1E"/>
                </a:solidFill>
                <a:latin typeface="+mn-lt"/>
                <a:ea typeface="+mn-ea"/>
                <a:cs typeface="+mn-cs"/>
              </a:rPr>
              <a:t>Ciencia</a:t>
            </a:r>
            <a:r>
              <a:rPr lang="en-US" sz="3200" dirty="0">
                <a:solidFill>
                  <a:srgbClr val="62AC1E"/>
                </a:solidFill>
                <a:latin typeface="+mn-lt"/>
                <a:ea typeface="+mn-ea"/>
                <a:cs typeface="+mn-cs"/>
              </a:rPr>
              <a:t> de </a:t>
            </a:r>
            <a:r>
              <a:rPr lang="en-US" sz="3200" dirty="0" err="1">
                <a:solidFill>
                  <a:srgbClr val="62AC1E"/>
                </a:solidFill>
                <a:latin typeface="+mn-lt"/>
                <a:ea typeface="+mn-ea"/>
                <a:cs typeface="+mn-cs"/>
              </a:rPr>
              <a:t>Datos</a:t>
            </a:r>
            <a:endParaRPr lang="es-ES" sz="3200" dirty="0">
              <a:solidFill>
                <a:srgbClr val="62AC1E"/>
              </a:solidFill>
              <a:latin typeface="+mn-lt"/>
              <a:ea typeface="+mn-ea"/>
              <a:cs typeface="+mn-cs"/>
            </a:endParaRPr>
          </a:p>
        </p:txBody>
      </p:sp>
      <p:sp>
        <p:nvSpPr>
          <p:cNvPr id="11" name="Rectángulo 10">
            <a:extLst>
              <a:ext uri="{FF2B5EF4-FFF2-40B4-BE49-F238E27FC236}">
                <a16:creationId xmlns:a16="http://schemas.microsoft.com/office/drawing/2014/main" id="{05931DEE-0987-41CC-86AA-5461F6874F30}"/>
              </a:ext>
            </a:extLst>
          </p:cNvPr>
          <p:cNvSpPr/>
          <p:nvPr/>
        </p:nvSpPr>
        <p:spPr>
          <a:xfrm>
            <a:off x="756756" y="895479"/>
            <a:ext cx="10503735" cy="400110"/>
          </a:xfrm>
          <a:prstGeom prst="rect">
            <a:avLst/>
          </a:prstGeom>
        </p:spPr>
        <p:txBody>
          <a:bodyPr wrap="square">
            <a:spAutoFit/>
          </a:bodyPr>
          <a:lstStyle/>
          <a:p>
            <a:pPr>
              <a:buClr>
                <a:schemeClr val="dk1"/>
              </a:buClr>
            </a:pPr>
            <a:r>
              <a:rPr lang="es-CO" sz="2000" dirty="0" err="1">
                <a:solidFill>
                  <a:srgbClr val="62AC1E"/>
                </a:solidFill>
                <a:sym typeface="Roboto Slab"/>
              </a:rPr>
              <a:t>Newsletters</a:t>
            </a:r>
            <a:r>
              <a:rPr lang="es-CO" sz="2000" dirty="0">
                <a:solidFill>
                  <a:srgbClr val="62AC1E"/>
                </a:solidFill>
                <a:sym typeface="Roboto Slab"/>
              </a:rPr>
              <a:t> y podcasts</a:t>
            </a:r>
            <a:endParaRPr lang="es-CO" sz="2000" dirty="0">
              <a:solidFill>
                <a:srgbClr val="62AC1E"/>
              </a:solidFill>
            </a:endParaRPr>
          </a:p>
        </p:txBody>
      </p:sp>
      <p:pic>
        <p:nvPicPr>
          <p:cNvPr id="8" name="Shape 740"/>
          <p:cNvPicPr preferRelativeResize="0"/>
          <p:nvPr/>
        </p:nvPicPr>
        <p:blipFill rotWithShape="1">
          <a:blip r:embed="rId3">
            <a:alphaModFix/>
          </a:blip>
          <a:srcRect/>
          <a:stretch/>
        </p:blipFill>
        <p:spPr>
          <a:xfrm>
            <a:off x="2133259" y="1470402"/>
            <a:ext cx="3331600" cy="4604016"/>
          </a:xfrm>
          <a:prstGeom prst="rect">
            <a:avLst/>
          </a:prstGeom>
          <a:noFill/>
          <a:ln>
            <a:noFill/>
          </a:ln>
        </p:spPr>
      </p:pic>
      <p:pic>
        <p:nvPicPr>
          <p:cNvPr id="9" name="Shape 741"/>
          <p:cNvPicPr preferRelativeResize="0"/>
          <p:nvPr/>
        </p:nvPicPr>
        <p:blipFill rotWithShape="1">
          <a:blip r:embed="rId4">
            <a:alphaModFix/>
          </a:blip>
          <a:srcRect/>
          <a:stretch/>
        </p:blipFill>
        <p:spPr>
          <a:xfrm>
            <a:off x="6008624" y="1520851"/>
            <a:ext cx="3348735" cy="4553567"/>
          </a:xfrm>
          <a:prstGeom prst="rect">
            <a:avLst/>
          </a:prstGeom>
          <a:noFill/>
          <a:ln>
            <a:noFill/>
          </a:ln>
        </p:spPr>
      </p:pic>
    </p:spTree>
    <p:extLst>
      <p:ext uri="{BB962C8B-B14F-4D97-AF65-F5344CB8AC3E}">
        <p14:creationId xmlns:p14="http://schemas.microsoft.com/office/powerpoint/2010/main" val="329368739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6FA9BCF4-887D-4E08-B9EA-90304EB91193}"/>
              </a:ext>
            </a:extLst>
          </p:cNvPr>
          <p:cNvSpPr/>
          <p:nvPr/>
        </p:nvSpPr>
        <p:spPr>
          <a:xfrm>
            <a:off x="672547" y="1299591"/>
            <a:ext cx="6596933" cy="4893647"/>
          </a:xfrm>
          <a:prstGeom prst="rect">
            <a:avLst/>
          </a:prstGeom>
        </p:spPr>
        <p:txBody>
          <a:bodyPr wrap="square">
            <a:spAutoFit/>
          </a:bodyPr>
          <a:lstStyle/>
          <a:p>
            <a:pPr marL="342900" indent="-342900" algn="just">
              <a:lnSpc>
                <a:spcPct val="130000"/>
              </a:lnSpc>
              <a:buClr>
                <a:srgbClr val="00FF00"/>
              </a:buClr>
              <a:buFont typeface="Wingdings" panose="05000000000000000000" pitchFamily="2" charset="2"/>
              <a:buChar char="ü"/>
            </a:pPr>
            <a:r>
              <a:rPr lang="es-ES" sz="2400" dirty="0">
                <a:solidFill>
                  <a:srgbClr val="5F5F5F"/>
                </a:solidFill>
              </a:rPr>
              <a:t>Detección</a:t>
            </a:r>
            <a:r>
              <a:rPr lang="es-419" sz="2400" dirty="0">
                <a:solidFill>
                  <a:srgbClr val="5F5F5F"/>
                </a:solidFill>
              </a:rPr>
              <a:t> y prevención </a:t>
            </a:r>
            <a:r>
              <a:rPr lang="es-ES" sz="2400" dirty="0">
                <a:solidFill>
                  <a:srgbClr val="5F5F5F"/>
                </a:solidFill>
              </a:rPr>
              <a:t>de fraudes</a:t>
            </a:r>
            <a:endParaRPr lang="es-CO" sz="2400" dirty="0">
              <a:solidFill>
                <a:srgbClr val="5F5F5F"/>
              </a:solidFill>
            </a:endParaRPr>
          </a:p>
          <a:p>
            <a:pPr marL="342900" indent="-342900" algn="just">
              <a:lnSpc>
                <a:spcPct val="130000"/>
              </a:lnSpc>
              <a:buClr>
                <a:srgbClr val="00FF00"/>
              </a:buClr>
              <a:buFont typeface="Wingdings" panose="05000000000000000000" pitchFamily="2" charset="2"/>
              <a:buChar char="ü"/>
            </a:pPr>
            <a:r>
              <a:rPr lang="es-ES" sz="2400" dirty="0">
                <a:solidFill>
                  <a:srgbClr val="5F5F5F"/>
                </a:solidFill>
              </a:rPr>
              <a:t>Optimización de campañas de mercadeo</a:t>
            </a:r>
            <a:endParaRPr lang="es-CO" sz="2400" dirty="0">
              <a:solidFill>
                <a:srgbClr val="5F5F5F"/>
              </a:solidFill>
            </a:endParaRPr>
          </a:p>
          <a:p>
            <a:pPr marL="342900" indent="-342900" algn="just">
              <a:lnSpc>
                <a:spcPct val="130000"/>
              </a:lnSpc>
              <a:buClr>
                <a:srgbClr val="00FF00"/>
              </a:buClr>
              <a:buFont typeface="Wingdings" panose="05000000000000000000" pitchFamily="2" charset="2"/>
              <a:buChar char="ü"/>
            </a:pPr>
            <a:r>
              <a:rPr lang="es-ES" sz="2400" dirty="0">
                <a:solidFill>
                  <a:srgbClr val="5F5F5F"/>
                </a:solidFill>
              </a:rPr>
              <a:t>Segmentación de clientes</a:t>
            </a:r>
            <a:endParaRPr lang="es-CO" sz="2400" dirty="0">
              <a:solidFill>
                <a:srgbClr val="5F5F5F"/>
              </a:solidFill>
            </a:endParaRPr>
          </a:p>
          <a:p>
            <a:pPr marL="342900" indent="-342900" algn="just">
              <a:lnSpc>
                <a:spcPct val="130000"/>
              </a:lnSpc>
              <a:buClr>
                <a:srgbClr val="00FF00"/>
              </a:buClr>
              <a:buFont typeface="Wingdings" panose="05000000000000000000" pitchFamily="2" charset="2"/>
              <a:buChar char="ü"/>
            </a:pPr>
            <a:r>
              <a:rPr lang="es-ES" sz="2400" dirty="0">
                <a:solidFill>
                  <a:srgbClr val="5F5F5F"/>
                </a:solidFill>
              </a:rPr>
              <a:t>Mantenimiento predictivo</a:t>
            </a:r>
            <a:endParaRPr lang="es-CO" sz="2400" dirty="0">
              <a:solidFill>
                <a:srgbClr val="5F5F5F"/>
              </a:solidFill>
            </a:endParaRPr>
          </a:p>
          <a:p>
            <a:pPr marL="342900" indent="-342900" algn="just">
              <a:lnSpc>
                <a:spcPct val="130000"/>
              </a:lnSpc>
              <a:buClr>
                <a:srgbClr val="00FF00"/>
              </a:buClr>
              <a:buFont typeface="Wingdings" panose="05000000000000000000" pitchFamily="2" charset="2"/>
              <a:buChar char="ü"/>
            </a:pPr>
            <a:r>
              <a:rPr lang="es-ES" sz="2400" dirty="0">
                <a:solidFill>
                  <a:srgbClr val="5F5F5F"/>
                </a:solidFill>
              </a:rPr>
              <a:t>Previsión de la demanda de energía</a:t>
            </a:r>
            <a:endParaRPr lang="es-CO" sz="2400" dirty="0">
              <a:solidFill>
                <a:srgbClr val="5F5F5F"/>
              </a:solidFill>
            </a:endParaRPr>
          </a:p>
          <a:p>
            <a:pPr marL="342900" indent="-342900" algn="just">
              <a:lnSpc>
                <a:spcPct val="130000"/>
              </a:lnSpc>
              <a:buClr>
                <a:srgbClr val="00FF00"/>
              </a:buClr>
              <a:buFont typeface="Wingdings" panose="05000000000000000000" pitchFamily="2" charset="2"/>
              <a:buChar char="ü"/>
            </a:pPr>
            <a:r>
              <a:rPr lang="es-ES" sz="2400" dirty="0">
                <a:solidFill>
                  <a:srgbClr val="5F5F5F"/>
                </a:solidFill>
              </a:rPr>
              <a:t>Optimización de costos</a:t>
            </a:r>
            <a:endParaRPr lang="es-419" sz="2400" dirty="0">
              <a:solidFill>
                <a:srgbClr val="5F5F5F"/>
              </a:solidFill>
            </a:endParaRPr>
          </a:p>
          <a:p>
            <a:pPr marL="342900" indent="-342900" algn="just">
              <a:lnSpc>
                <a:spcPct val="130000"/>
              </a:lnSpc>
              <a:buClr>
                <a:srgbClr val="00FF00"/>
              </a:buClr>
              <a:buFont typeface="Wingdings" panose="05000000000000000000" pitchFamily="2" charset="2"/>
              <a:buChar char="ü"/>
            </a:pPr>
            <a:r>
              <a:rPr lang="es-419" sz="2400" dirty="0">
                <a:solidFill>
                  <a:srgbClr val="5F5F5F"/>
                </a:solidFill>
              </a:rPr>
              <a:t>Diagnóstico de enfermedades</a:t>
            </a:r>
          </a:p>
          <a:p>
            <a:pPr marL="342900" indent="-342900" algn="just">
              <a:lnSpc>
                <a:spcPct val="130000"/>
              </a:lnSpc>
              <a:buClr>
                <a:srgbClr val="00FF00"/>
              </a:buClr>
              <a:buFont typeface="Wingdings" panose="05000000000000000000" pitchFamily="2" charset="2"/>
              <a:buChar char="ü"/>
            </a:pPr>
            <a:r>
              <a:rPr lang="es-419" sz="2400" dirty="0">
                <a:solidFill>
                  <a:srgbClr val="5F5F5F"/>
                </a:solidFill>
              </a:rPr>
              <a:t>A</a:t>
            </a:r>
            <a:r>
              <a:rPr lang="en-US" sz="2400" dirty="0">
                <a:solidFill>
                  <a:srgbClr val="5F5F5F"/>
                </a:solidFill>
              </a:rPr>
              <a:t>n</a:t>
            </a:r>
            <a:r>
              <a:rPr lang="es-419" sz="2400" dirty="0">
                <a:solidFill>
                  <a:srgbClr val="5F5F5F"/>
                </a:solidFill>
              </a:rPr>
              <a:t>á</a:t>
            </a:r>
            <a:r>
              <a:rPr lang="en-US" sz="2400" dirty="0">
                <a:solidFill>
                  <a:srgbClr val="5F5F5F"/>
                </a:solidFill>
              </a:rPr>
              <a:t>l</a:t>
            </a:r>
            <a:r>
              <a:rPr lang="es-419" sz="2400" dirty="0">
                <a:solidFill>
                  <a:srgbClr val="5F5F5F"/>
                </a:solidFill>
              </a:rPr>
              <a:t>i</a:t>
            </a:r>
            <a:r>
              <a:rPr lang="en-US" sz="2400" dirty="0">
                <a:solidFill>
                  <a:srgbClr val="5F5F5F"/>
                </a:solidFill>
              </a:rPr>
              <a:t>sis</a:t>
            </a:r>
            <a:r>
              <a:rPr lang="es-419" sz="2400" dirty="0">
                <a:solidFill>
                  <a:srgbClr val="5F5F5F"/>
                </a:solidFill>
              </a:rPr>
              <a:t> de tendencias de crímenes</a:t>
            </a:r>
            <a:endParaRPr lang="en-US" sz="2400" dirty="0">
              <a:solidFill>
                <a:srgbClr val="5F5F5F"/>
              </a:solidFill>
            </a:endParaRPr>
          </a:p>
          <a:p>
            <a:pPr marL="342900" indent="-342900" algn="just">
              <a:lnSpc>
                <a:spcPct val="130000"/>
              </a:lnSpc>
              <a:buClr>
                <a:srgbClr val="00FF00"/>
              </a:buClr>
              <a:buFont typeface="Wingdings" panose="05000000000000000000" pitchFamily="2" charset="2"/>
              <a:buChar char="ü"/>
            </a:pPr>
            <a:r>
              <a:rPr lang="es-419" sz="2400" dirty="0">
                <a:solidFill>
                  <a:srgbClr val="5F5F5F"/>
                </a:solidFill>
              </a:rPr>
              <a:t>Exploración espacial </a:t>
            </a:r>
          </a:p>
          <a:p>
            <a:pPr marL="342900" indent="-342900" algn="just">
              <a:lnSpc>
                <a:spcPct val="130000"/>
              </a:lnSpc>
              <a:buClr>
                <a:srgbClr val="00FF00"/>
              </a:buClr>
              <a:buFont typeface="Wingdings" panose="05000000000000000000" pitchFamily="2" charset="2"/>
              <a:buChar char="ü"/>
            </a:pPr>
            <a:r>
              <a:rPr lang="es-419" sz="2400" b="1" dirty="0">
                <a:solidFill>
                  <a:srgbClr val="5F5F5F"/>
                </a:solidFill>
              </a:rPr>
              <a:t>Otros… </a:t>
            </a:r>
            <a:r>
              <a:rPr lang="es-MX" sz="2400" b="1" dirty="0">
                <a:solidFill>
                  <a:srgbClr val="5F5F5F"/>
                </a:solidFill>
              </a:rPr>
              <a:t>En todos los sectores!</a:t>
            </a:r>
            <a:endParaRPr lang="es-ES" sz="2400" dirty="0">
              <a:solidFill>
                <a:srgbClr val="5F5F5F"/>
              </a:solidFill>
            </a:endParaRPr>
          </a:p>
        </p:txBody>
      </p:sp>
      <p:sp>
        <p:nvSpPr>
          <p:cNvPr id="4" name="1 Título">
            <a:extLst>
              <a:ext uri="{FF2B5EF4-FFF2-40B4-BE49-F238E27FC236}">
                <a16:creationId xmlns:a16="http://schemas.microsoft.com/office/drawing/2014/main" id="{A189F287-9A1F-476B-B40E-08606675DCC1}"/>
              </a:ext>
            </a:extLst>
          </p:cNvPr>
          <p:cNvSpPr txBox="1">
            <a:spLocks/>
          </p:cNvSpPr>
          <p:nvPr/>
        </p:nvSpPr>
        <p:spPr>
          <a:xfrm>
            <a:off x="672547" y="347884"/>
            <a:ext cx="11306093"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lvl="0" algn="l">
              <a:defRPr/>
            </a:pPr>
            <a:r>
              <a:rPr lang="es-ES" sz="3200" dirty="0">
                <a:solidFill>
                  <a:srgbClr val="62AC1E"/>
                </a:solidFill>
                <a:latin typeface="+mn-lt"/>
                <a:ea typeface="+mn-ea"/>
                <a:cs typeface="+mn-cs"/>
              </a:rPr>
              <a:t>Escenarios de aplicación de </a:t>
            </a:r>
            <a:r>
              <a:rPr lang="es-419" sz="3200" dirty="0">
                <a:solidFill>
                  <a:srgbClr val="62AC1E"/>
                </a:solidFill>
                <a:latin typeface="+mn-lt"/>
                <a:ea typeface="+mn-ea"/>
                <a:cs typeface="+mn-cs"/>
              </a:rPr>
              <a:t>ciencia de datos y aprendizaje de máquina</a:t>
            </a:r>
            <a:endParaRPr lang="es-ES" sz="2800" dirty="0">
              <a:solidFill>
                <a:srgbClr val="62AC1E"/>
              </a:solidFill>
              <a:latin typeface="+mn-lt"/>
              <a:ea typeface="+mn-ea"/>
              <a:cs typeface="+mn-cs"/>
            </a:endParaRPr>
          </a:p>
        </p:txBody>
      </p:sp>
      <p:pic>
        <p:nvPicPr>
          <p:cNvPr id="5" name="Imagen 4"/>
          <p:cNvPicPr>
            <a:picLocks noChangeAspect="1"/>
          </p:cNvPicPr>
          <p:nvPr/>
        </p:nvPicPr>
        <p:blipFill>
          <a:blip r:embed="rId2"/>
          <a:stretch>
            <a:fillRect/>
          </a:stretch>
        </p:blipFill>
        <p:spPr>
          <a:xfrm>
            <a:off x="5760720" y="2339918"/>
            <a:ext cx="5773249" cy="3436042"/>
          </a:xfrm>
          <a:prstGeom prst="rect">
            <a:avLst/>
          </a:prstGeom>
          <a:effectLst>
            <a:glow rad="228600">
              <a:schemeClr val="accent3">
                <a:satMod val="175000"/>
                <a:alpha val="40000"/>
              </a:schemeClr>
            </a:glow>
          </a:effectLst>
        </p:spPr>
      </p:pic>
    </p:spTree>
    <p:extLst>
      <p:ext uri="{BB962C8B-B14F-4D97-AF65-F5344CB8AC3E}">
        <p14:creationId xmlns:p14="http://schemas.microsoft.com/office/powerpoint/2010/main" val="303001525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1 Título">
            <a:extLst>
              <a:ext uri="{FF2B5EF4-FFF2-40B4-BE49-F238E27FC236}">
                <a16:creationId xmlns:a16="http://schemas.microsoft.com/office/drawing/2014/main" id="{A189F287-9A1F-476B-B40E-08606675DCC1}"/>
              </a:ext>
            </a:extLst>
          </p:cNvPr>
          <p:cNvSpPr txBox="1">
            <a:spLocks/>
          </p:cNvSpPr>
          <p:nvPr/>
        </p:nvSpPr>
        <p:spPr>
          <a:xfrm>
            <a:off x="514356" y="490565"/>
            <a:ext cx="10800412"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lvl="0" algn="l">
              <a:defRPr/>
            </a:pPr>
            <a:r>
              <a:rPr lang="es-419" sz="3200" dirty="0">
                <a:solidFill>
                  <a:srgbClr val="62AC1E"/>
                </a:solidFill>
                <a:latin typeface="+mn-lt"/>
                <a:ea typeface="+mn-ea"/>
                <a:cs typeface="+mn-cs"/>
              </a:rPr>
              <a:t>Naturaleza del aprendizaje de máquina</a:t>
            </a:r>
            <a:endParaRPr lang="es-ES" sz="3200" dirty="0">
              <a:solidFill>
                <a:srgbClr val="62AC1E"/>
              </a:solidFill>
              <a:latin typeface="+mn-lt"/>
              <a:ea typeface="+mn-ea"/>
              <a:cs typeface="+mn-cs"/>
            </a:endParaRPr>
          </a:p>
        </p:txBody>
      </p:sp>
      <p:sp>
        <p:nvSpPr>
          <p:cNvPr id="4" name="Rectángulo 3">
            <a:extLst>
              <a:ext uri="{FF2B5EF4-FFF2-40B4-BE49-F238E27FC236}">
                <a16:creationId xmlns:a16="http://schemas.microsoft.com/office/drawing/2014/main" id="{00E19DC1-4F4A-4D94-885B-DC35FBB6EA4D}"/>
              </a:ext>
            </a:extLst>
          </p:cNvPr>
          <p:cNvSpPr/>
          <p:nvPr/>
        </p:nvSpPr>
        <p:spPr>
          <a:xfrm>
            <a:off x="514356" y="1349538"/>
            <a:ext cx="10918528" cy="2714589"/>
          </a:xfrm>
          <a:prstGeom prst="rect">
            <a:avLst/>
          </a:prstGeom>
        </p:spPr>
        <p:txBody>
          <a:bodyPr wrap="square">
            <a:spAutoFit/>
          </a:bodyPr>
          <a:lstStyle/>
          <a:p>
            <a:pPr marL="342900" indent="-342900" algn="just">
              <a:lnSpc>
                <a:spcPct val="130000"/>
              </a:lnSpc>
              <a:spcBef>
                <a:spcPct val="20000"/>
              </a:spcBef>
              <a:buBlip>
                <a:blip r:embed="rId3"/>
              </a:buBlip>
            </a:pPr>
            <a:r>
              <a:rPr lang="es-419" sz="2400" dirty="0">
                <a:solidFill>
                  <a:srgbClr val="5F5F5F"/>
                </a:solidFill>
              </a:rPr>
              <a:t>El aprendizaje de máquina aplica un proceso </a:t>
            </a:r>
            <a:r>
              <a:rPr lang="es-419" sz="2400" b="1" dirty="0">
                <a:solidFill>
                  <a:srgbClr val="5F5F5F"/>
                </a:solidFill>
              </a:rPr>
              <a:t>iterativo.</a:t>
            </a:r>
          </a:p>
          <a:p>
            <a:pPr marL="342900" indent="-342900" algn="just">
              <a:lnSpc>
                <a:spcPct val="130000"/>
              </a:lnSpc>
              <a:spcBef>
                <a:spcPct val="20000"/>
              </a:spcBef>
              <a:buBlip>
                <a:blip r:embed="rId3"/>
              </a:buBlip>
            </a:pPr>
            <a:r>
              <a:rPr lang="es-419" sz="2400" dirty="0">
                <a:solidFill>
                  <a:srgbClr val="5F5F5F"/>
                </a:solidFill>
              </a:rPr>
              <a:t>Es de carácter </a:t>
            </a:r>
            <a:r>
              <a:rPr lang="es-419" sz="2400" b="1" dirty="0">
                <a:solidFill>
                  <a:srgbClr val="5F5F5F"/>
                </a:solidFill>
              </a:rPr>
              <a:t>experimental.</a:t>
            </a:r>
          </a:p>
          <a:p>
            <a:pPr marL="342900" indent="-342900" algn="just">
              <a:lnSpc>
                <a:spcPct val="130000"/>
              </a:lnSpc>
              <a:spcBef>
                <a:spcPct val="20000"/>
              </a:spcBef>
              <a:buBlip>
                <a:blip r:embed="rId3"/>
              </a:buBlip>
            </a:pPr>
            <a:r>
              <a:rPr lang="es-419" sz="2400" dirty="0">
                <a:solidFill>
                  <a:srgbClr val="5F5F5F"/>
                </a:solidFill>
              </a:rPr>
              <a:t>Constituye un </a:t>
            </a:r>
            <a:r>
              <a:rPr lang="es-419" sz="2400" b="1" dirty="0">
                <a:solidFill>
                  <a:srgbClr val="5F5F5F"/>
                </a:solidFill>
              </a:rPr>
              <a:t>desafío adaptativo.</a:t>
            </a:r>
          </a:p>
          <a:p>
            <a:pPr marL="342900" indent="-342900" algn="just">
              <a:lnSpc>
                <a:spcPct val="130000"/>
              </a:lnSpc>
              <a:spcBef>
                <a:spcPct val="20000"/>
              </a:spcBef>
              <a:buBlip>
                <a:blip r:embed="rId3"/>
              </a:buBlip>
            </a:pPr>
            <a:r>
              <a:rPr lang="es-419" sz="2400" dirty="0">
                <a:solidFill>
                  <a:srgbClr val="5F5F5F"/>
                </a:solidFill>
              </a:rPr>
              <a:t>En los proyectos de ciencia de datos y aprendizaje de máquina pueden usarse </a:t>
            </a:r>
            <a:r>
              <a:rPr lang="es-419" sz="2400" b="1" dirty="0">
                <a:solidFill>
                  <a:srgbClr val="5F5F5F"/>
                </a:solidFill>
              </a:rPr>
              <a:t>metodologías ágiles (Ej. SCRUM), </a:t>
            </a:r>
            <a:r>
              <a:rPr lang="es-419" sz="2400" b="1" dirty="0" err="1">
                <a:solidFill>
                  <a:srgbClr val="5F5F5F"/>
                </a:solidFill>
              </a:rPr>
              <a:t>design</a:t>
            </a:r>
            <a:r>
              <a:rPr lang="es-419" sz="2400" b="1" dirty="0">
                <a:solidFill>
                  <a:srgbClr val="5F5F5F"/>
                </a:solidFill>
              </a:rPr>
              <a:t> </a:t>
            </a:r>
            <a:r>
              <a:rPr lang="es-419" sz="2400" b="1" dirty="0" err="1">
                <a:solidFill>
                  <a:srgbClr val="5F5F5F"/>
                </a:solidFill>
              </a:rPr>
              <a:t>thinking</a:t>
            </a:r>
            <a:r>
              <a:rPr lang="es-419" sz="2400" b="1" dirty="0">
                <a:solidFill>
                  <a:srgbClr val="5F5F5F"/>
                </a:solidFill>
              </a:rPr>
              <a:t> y lean-</a:t>
            </a:r>
            <a:r>
              <a:rPr lang="es-419" sz="2400" b="1" dirty="0" err="1">
                <a:solidFill>
                  <a:srgbClr val="5F5F5F"/>
                </a:solidFill>
              </a:rPr>
              <a:t>startup</a:t>
            </a:r>
            <a:r>
              <a:rPr lang="es-419" sz="2400" b="1" dirty="0">
                <a:solidFill>
                  <a:srgbClr val="5F5F5F"/>
                </a:solidFill>
              </a:rPr>
              <a:t>.</a:t>
            </a:r>
          </a:p>
        </p:txBody>
      </p:sp>
    </p:spTree>
    <p:extLst>
      <p:ext uri="{BB962C8B-B14F-4D97-AF65-F5344CB8AC3E}">
        <p14:creationId xmlns:p14="http://schemas.microsoft.com/office/powerpoint/2010/main" val="255630437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ángulo 21">
            <a:hlinkClick r:id="rId3" action="ppaction://hlinksldjump"/>
            <a:extLst>
              <a:ext uri="{FF2B5EF4-FFF2-40B4-BE49-F238E27FC236}">
                <a16:creationId xmlns:a16="http://schemas.microsoft.com/office/drawing/2014/main" id="{D74CF98F-7C90-458D-9C1B-84ACBD608615}"/>
              </a:ext>
            </a:extLst>
          </p:cNvPr>
          <p:cNvSpPr/>
          <p:nvPr/>
        </p:nvSpPr>
        <p:spPr>
          <a:xfrm>
            <a:off x="11126560" y="22705"/>
            <a:ext cx="942535" cy="534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graphicFrame>
        <p:nvGraphicFramePr>
          <p:cNvPr id="6" name="Diagrama 5">
            <a:extLst>
              <a:ext uri="{FF2B5EF4-FFF2-40B4-BE49-F238E27FC236}">
                <a16:creationId xmlns:a16="http://schemas.microsoft.com/office/drawing/2014/main" id="{1B39E25B-B6FE-495A-94DB-91596A2218BF}"/>
              </a:ext>
            </a:extLst>
          </p:cNvPr>
          <p:cNvGraphicFramePr/>
          <p:nvPr>
            <p:extLst>
              <p:ext uri="{D42A27DB-BD31-4B8C-83A1-F6EECF244321}">
                <p14:modId xmlns:p14="http://schemas.microsoft.com/office/powerpoint/2010/main" val="1730035334"/>
              </p:ext>
            </p:extLst>
          </p:nvPr>
        </p:nvGraphicFramePr>
        <p:xfrm>
          <a:off x="1576585" y="1023130"/>
          <a:ext cx="9023031" cy="529660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CuadroTexto 6">
            <a:extLst>
              <a:ext uri="{FF2B5EF4-FFF2-40B4-BE49-F238E27FC236}">
                <a16:creationId xmlns:a16="http://schemas.microsoft.com/office/drawing/2014/main" id="{22AC47F3-B8C7-4561-8745-B278ABFB5C4D}"/>
              </a:ext>
            </a:extLst>
          </p:cNvPr>
          <p:cNvSpPr txBox="1"/>
          <p:nvPr/>
        </p:nvSpPr>
        <p:spPr>
          <a:xfrm>
            <a:off x="7184759" y="814814"/>
            <a:ext cx="4373219" cy="707886"/>
          </a:xfrm>
          <a:prstGeom prst="rect">
            <a:avLst/>
          </a:prstGeom>
        </p:spPr>
        <p:txBody>
          <a:bodyPr wrap="square" rtlCol="0">
            <a:spAutoFit/>
          </a:bodyPr>
          <a:lstStyle/>
          <a:p>
            <a:pPr marL="0" marR="0" indent="0" defTabSz="914400" rtl="0" eaLnBrk="1" fontAlgn="auto" latinLnBrk="0" hangingPunct="1">
              <a:lnSpc>
                <a:spcPct val="100000"/>
              </a:lnSpc>
              <a:spcBef>
                <a:spcPct val="0"/>
              </a:spcBef>
              <a:spcAft>
                <a:spcPts val="0"/>
              </a:spcAft>
              <a:buClrTx/>
              <a:buSzTx/>
              <a:buFontTx/>
              <a:buNone/>
              <a:tabLst/>
            </a:pPr>
            <a:r>
              <a:rPr kumimoji="0" lang="x-none" sz="2000" b="0" i="0" u="none" strike="noStrike" kern="1200" cap="none" spc="0" normalizeH="0" baseline="0" noProof="0" dirty="0">
                <a:ln>
                  <a:noFill/>
                </a:ln>
                <a:solidFill>
                  <a:schemeClr val="tx1"/>
                </a:solidFill>
                <a:effectLst/>
                <a:uLnTx/>
                <a:uFillTx/>
                <a:latin typeface="+mj-lt"/>
                <a:ea typeface="+mj-ea"/>
                <a:cs typeface="+mj-cs"/>
              </a:rPr>
              <a:t>Determinar los objetivos del negocio </a:t>
            </a:r>
          </a:p>
          <a:p>
            <a:pPr marL="0" marR="0" indent="0" defTabSz="914400" rtl="0" eaLnBrk="1" fontAlgn="auto" latinLnBrk="0" hangingPunct="1">
              <a:lnSpc>
                <a:spcPct val="100000"/>
              </a:lnSpc>
              <a:spcBef>
                <a:spcPct val="0"/>
              </a:spcBef>
              <a:spcAft>
                <a:spcPts val="0"/>
              </a:spcAft>
              <a:buClrTx/>
              <a:buSzTx/>
              <a:buFontTx/>
              <a:buNone/>
              <a:tabLst/>
            </a:pPr>
            <a:r>
              <a:rPr lang="x-none" sz="2000" dirty="0">
                <a:latin typeface="+mj-lt"/>
                <a:ea typeface="+mj-ea"/>
                <a:cs typeface="+mj-cs"/>
              </a:rPr>
              <a:t>Definir el </a:t>
            </a:r>
            <a:r>
              <a:rPr kumimoji="0" lang="x-none" sz="2000" i="0" u="none" strike="noStrike" kern="1200" cap="none" spc="0" normalizeH="0" baseline="0" noProof="0" dirty="0">
                <a:ln>
                  <a:noFill/>
                </a:ln>
                <a:solidFill>
                  <a:schemeClr val="tx1"/>
                </a:solidFill>
                <a:effectLst/>
                <a:uLnTx/>
                <a:uFillTx/>
                <a:latin typeface="+mj-lt"/>
                <a:ea typeface="+mj-ea"/>
                <a:cs typeface="+mj-cs"/>
              </a:rPr>
              <a:t>problema</a:t>
            </a:r>
          </a:p>
        </p:txBody>
      </p:sp>
      <p:sp>
        <p:nvSpPr>
          <p:cNvPr id="9" name="CuadroTexto 8">
            <a:extLst>
              <a:ext uri="{FF2B5EF4-FFF2-40B4-BE49-F238E27FC236}">
                <a16:creationId xmlns:a16="http://schemas.microsoft.com/office/drawing/2014/main" id="{9AB702AE-2B14-47B0-B662-E7ED5D0BAD16}"/>
              </a:ext>
            </a:extLst>
          </p:cNvPr>
          <p:cNvSpPr txBox="1"/>
          <p:nvPr/>
        </p:nvSpPr>
        <p:spPr>
          <a:xfrm>
            <a:off x="8896027" y="1974116"/>
            <a:ext cx="3295973" cy="1323439"/>
          </a:xfrm>
          <a:prstGeom prst="rect">
            <a:avLst/>
          </a:prstGeom>
        </p:spPr>
        <p:txBody>
          <a:bodyPr wrap="square" rtlCol="0">
            <a:spAutoFit/>
          </a:bodyPr>
          <a:lstStyle/>
          <a:p>
            <a:pPr marL="0" marR="0" indent="0" defTabSz="914400" rtl="0" eaLnBrk="1" fontAlgn="auto" latinLnBrk="0" hangingPunct="1">
              <a:lnSpc>
                <a:spcPct val="100000"/>
              </a:lnSpc>
              <a:spcBef>
                <a:spcPct val="0"/>
              </a:spcBef>
              <a:spcAft>
                <a:spcPts val="0"/>
              </a:spcAft>
              <a:buClrTx/>
              <a:buSzTx/>
              <a:buFontTx/>
              <a:buNone/>
              <a:tabLst/>
            </a:pPr>
            <a:r>
              <a:rPr kumimoji="0" lang="x-none" sz="2000" b="0" i="0" u="none" strike="noStrike" kern="1200" cap="none" spc="0" normalizeH="0" baseline="0" noProof="0" dirty="0">
                <a:ln>
                  <a:noFill/>
                </a:ln>
                <a:solidFill>
                  <a:schemeClr val="tx1"/>
                </a:solidFill>
                <a:effectLst/>
                <a:uLnTx/>
                <a:uFillTx/>
                <a:latin typeface="+mj-lt"/>
                <a:ea typeface="+mj-ea"/>
                <a:cs typeface="+mj-cs"/>
              </a:rPr>
              <a:t>Recolectar datos</a:t>
            </a:r>
          </a:p>
          <a:p>
            <a:pPr marL="0" marR="0" indent="0" defTabSz="914400" rtl="0" eaLnBrk="1" fontAlgn="auto" latinLnBrk="0" hangingPunct="1">
              <a:lnSpc>
                <a:spcPct val="100000"/>
              </a:lnSpc>
              <a:spcBef>
                <a:spcPct val="0"/>
              </a:spcBef>
              <a:spcAft>
                <a:spcPts val="0"/>
              </a:spcAft>
              <a:buClrTx/>
              <a:buSzTx/>
              <a:buFontTx/>
              <a:buNone/>
              <a:tabLst/>
            </a:pPr>
            <a:r>
              <a:rPr lang="x-none" sz="2000" dirty="0">
                <a:latin typeface="+mj-lt"/>
                <a:ea typeface="+mj-ea"/>
                <a:cs typeface="+mj-cs"/>
              </a:rPr>
              <a:t>Describir datos</a:t>
            </a:r>
          </a:p>
          <a:p>
            <a:pPr marL="0" marR="0" indent="0" defTabSz="914400" rtl="0" eaLnBrk="1" fontAlgn="auto" latinLnBrk="0" hangingPunct="1">
              <a:lnSpc>
                <a:spcPct val="100000"/>
              </a:lnSpc>
              <a:spcBef>
                <a:spcPct val="0"/>
              </a:spcBef>
              <a:spcAft>
                <a:spcPts val="0"/>
              </a:spcAft>
              <a:buClrTx/>
              <a:buSzTx/>
              <a:buFontTx/>
              <a:buNone/>
              <a:tabLst/>
            </a:pPr>
            <a:r>
              <a:rPr kumimoji="0" lang="x-none" sz="2000" b="0" i="0" u="none" strike="noStrike" kern="1200" cap="none" spc="0" normalizeH="0" baseline="0" noProof="0" dirty="0">
                <a:ln>
                  <a:noFill/>
                </a:ln>
                <a:solidFill>
                  <a:schemeClr val="tx1"/>
                </a:solidFill>
                <a:effectLst/>
                <a:uLnTx/>
                <a:uFillTx/>
                <a:latin typeface="+mj-lt"/>
                <a:ea typeface="+mj-ea"/>
                <a:cs typeface="+mj-cs"/>
              </a:rPr>
              <a:t>Explorar datos</a:t>
            </a:r>
          </a:p>
          <a:p>
            <a:pPr marL="0" marR="0" indent="0" defTabSz="914400" rtl="0" eaLnBrk="1" fontAlgn="auto" latinLnBrk="0" hangingPunct="1">
              <a:lnSpc>
                <a:spcPct val="100000"/>
              </a:lnSpc>
              <a:spcBef>
                <a:spcPct val="0"/>
              </a:spcBef>
              <a:spcAft>
                <a:spcPts val="0"/>
              </a:spcAft>
              <a:buClrTx/>
              <a:buSzTx/>
              <a:buFontTx/>
              <a:buNone/>
              <a:tabLst/>
            </a:pPr>
            <a:r>
              <a:rPr lang="x-none" sz="2000" dirty="0">
                <a:latin typeface="+mj-lt"/>
                <a:ea typeface="+mj-ea"/>
                <a:cs typeface="+mj-cs"/>
              </a:rPr>
              <a:t>Verificar calidad de datos</a:t>
            </a:r>
            <a:endParaRPr kumimoji="0" lang="x-none" sz="2000" b="0" i="0" u="none" strike="noStrike" kern="1200" cap="none" spc="0" normalizeH="0" baseline="0" noProof="0" dirty="0">
              <a:ln>
                <a:noFill/>
              </a:ln>
              <a:solidFill>
                <a:schemeClr val="tx1"/>
              </a:solidFill>
              <a:effectLst/>
              <a:uLnTx/>
              <a:uFillTx/>
              <a:latin typeface="+mj-lt"/>
              <a:ea typeface="+mj-ea"/>
              <a:cs typeface="+mj-cs"/>
            </a:endParaRPr>
          </a:p>
        </p:txBody>
      </p:sp>
      <p:sp>
        <p:nvSpPr>
          <p:cNvPr id="10" name="CuadroTexto 9">
            <a:extLst>
              <a:ext uri="{FF2B5EF4-FFF2-40B4-BE49-F238E27FC236}">
                <a16:creationId xmlns:a16="http://schemas.microsoft.com/office/drawing/2014/main" id="{91DFC7DC-90D5-4DDD-A8E4-89851298817B}"/>
              </a:ext>
            </a:extLst>
          </p:cNvPr>
          <p:cNvSpPr txBox="1"/>
          <p:nvPr/>
        </p:nvSpPr>
        <p:spPr>
          <a:xfrm>
            <a:off x="8896027" y="4206562"/>
            <a:ext cx="2551046" cy="1015663"/>
          </a:xfrm>
          <a:prstGeom prst="rect">
            <a:avLst/>
          </a:prstGeom>
        </p:spPr>
        <p:txBody>
          <a:bodyPr wrap="square" rtlCol="0">
            <a:spAutoFit/>
          </a:bodyPr>
          <a:lstStyle/>
          <a:p>
            <a:pPr marL="0" marR="0" indent="0" defTabSz="914400" rtl="0" eaLnBrk="1" fontAlgn="auto" latinLnBrk="0" hangingPunct="1">
              <a:lnSpc>
                <a:spcPct val="100000"/>
              </a:lnSpc>
              <a:spcBef>
                <a:spcPct val="0"/>
              </a:spcBef>
              <a:spcAft>
                <a:spcPts val="0"/>
              </a:spcAft>
              <a:buClrTx/>
              <a:buSzTx/>
              <a:buFontTx/>
              <a:buNone/>
              <a:tabLst/>
            </a:pPr>
            <a:r>
              <a:rPr kumimoji="0" lang="x-none" sz="2000" b="0" i="0" u="none" strike="noStrike" kern="1200" cap="none" spc="0" normalizeH="0" baseline="0" noProof="0" dirty="0">
                <a:ln>
                  <a:noFill/>
                </a:ln>
                <a:solidFill>
                  <a:schemeClr val="tx1"/>
                </a:solidFill>
                <a:effectLst/>
                <a:uLnTx/>
                <a:uFillTx/>
                <a:latin typeface="+mj-lt"/>
                <a:ea typeface="+mj-ea"/>
                <a:cs typeface="+mj-cs"/>
              </a:rPr>
              <a:t>Seleccionar datos</a:t>
            </a:r>
          </a:p>
          <a:p>
            <a:pPr marL="0" marR="0" indent="0" defTabSz="914400" rtl="0" eaLnBrk="1" fontAlgn="auto" latinLnBrk="0" hangingPunct="1">
              <a:lnSpc>
                <a:spcPct val="100000"/>
              </a:lnSpc>
              <a:spcBef>
                <a:spcPct val="0"/>
              </a:spcBef>
              <a:spcAft>
                <a:spcPts val="0"/>
              </a:spcAft>
              <a:buClrTx/>
              <a:buSzTx/>
              <a:buFontTx/>
              <a:buNone/>
              <a:tabLst/>
            </a:pPr>
            <a:r>
              <a:rPr lang="x-none" sz="2000" dirty="0">
                <a:latin typeface="+mj-lt"/>
                <a:ea typeface="+mj-ea"/>
                <a:cs typeface="+mj-cs"/>
              </a:rPr>
              <a:t>Limpiar datos</a:t>
            </a:r>
          </a:p>
          <a:p>
            <a:pPr marL="0" marR="0" indent="0" defTabSz="914400" rtl="0" eaLnBrk="1" fontAlgn="auto" latinLnBrk="0" hangingPunct="1">
              <a:lnSpc>
                <a:spcPct val="100000"/>
              </a:lnSpc>
              <a:spcBef>
                <a:spcPct val="0"/>
              </a:spcBef>
              <a:spcAft>
                <a:spcPts val="0"/>
              </a:spcAft>
              <a:buClrTx/>
              <a:buSzTx/>
              <a:buFontTx/>
              <a:buNone/>
              <a:tabLst/>
            </a:pPr>
            <a:r>
              <a:rPr kumimoji="0" lang="x-none" sz="2000" b="0" i="0" u="none" strike="noStrike" kern="1200" cap="none" spc="0" normalizeH="0" baseline="0" noProof="0" dirty="0">
                <a:ln>
                  <a:noFill/>
                </a:ln>
                <a:solidFill>
                  <a:schemeClr val="tx1"/>
                </a:solidFill>
                <a:effectLst/>
                <a:uLnTx/>
                <a:uFillTx/>
                <a:latin typeface="+mj-lt"/>
                <a:ea typeface="+mj-ea"/>
                <a:cs typeface="+mj-cs"/>
              </a:rPr>
              <a:t>Construir datos</a:t>
            </a:r>
          </a:p>
        </p:txBody>
      </p:sp>
      <p:sp>
        <p:nvSpPr>
          <p:cNvPr id="11" name="CuadroTexto 10">
            <a:extLst>
              <a:ext uri="{FF2B5EF4-FFF2-40B4-BE49-F238E27FC236}">
                <a16:creationId xmlns:a16="http://schemas.microsoft.com/office/drawing/2014/main" id="{27921943-7FB7-407D-8B35-DDB1C48E72E4}"/>
              </a:ext>
            </a:extLst>
          </p:cNvPr>
          <p:cNvSpPr txBox="1"/>
          <p:nvPr/>
        </p:nvSpPr>
        <p:spPr>
          <a:xfrm>
            <a:off x="7068937" y="5547380"/>
            <a:ext cx="4604861" cy="1323439"/>
          </a:xfrm>
          <a:prstGeom prst="rect">
            <a:avLst/>
          </a:prstGeom>
        </p:spPr>
        <p:txBody>
          <a:bodyPr wrap="square" rtlCol="0">
            <a:spAutoFit/>
          </a:bodyPr>
          <a:lstStyle/>
          <a:p>
            <a:pPr marL="0" marR="0" indent="0" defTabSz="914400" rtl="0" eaLnBrk="1" fontAlgn="auto" latinLnBrk="0" hangingPunct="1">
              <a:lnSpc>
                <a:spcPct val="100000"/>
              </a:lnSpc>
              <a:spcBef>
                <a:spcPct val="0"/>
              </a:spcBef>
              <a:spcAft>
                <a:spcPts val="0"/>
              </a:spcAft>
              <a:buClrTx/>
              <a:buSzTx/>
              <a:buFontTx/>
              <a:buNone/>
              <a:tabLst/>
            </a:pPr>
            <a:r>
              <a:rPr kumimoji="0" lang="x-none" sz="2000" b="0" i="0" u="none" strike="noStrike" kern="1200" cap="none" spc="0" normalizeH="0" baseline="0" noProof="0" dirty="0">
                <a:ln>
                  <a:noFill/>
                </a:ln>
                <a:solidFill>
                  <a:schemeClr val="tx1"/>
                </a:solidFill>
                <a:effectLst/>
                <a:uLnTx/>
                <a:uFillTx/>
                <a:latin typeface="+mj-lt"/>
                <a:ea typeface="+mj-ea"/>
                <a:cs typeface="+mj-cs"/>
              </a:rPr>
              <a:t>Seleccionar técnica de modela</a:t>
            </a:r>
            <a:r>
              <a:rPr kumimoji="0" lang="es-419" sz="2000" b="0" i="0" u="none" strike="noStrike" kern="1200" cap="none" spc="0" normalizeH="0" baseline="0" noProof="0" dirty="0">
                <a:ln>
                  <a:noFill/>
                </a:ln>
                <a:solidFill>
                  <a:schemeClr val="tx1"/>
                </a:solidFill>
                <a:effectLst/>
                <a:uLnTx/>
                <a:uFillTx/>
                <a:latin typeface="+mj-lt"/>
                <a:ea typeface="+mj-ea"/>
                <a:cs typeface="+mj-cs"/>
              </a:rPr>
              <a:t>do</a:t>
            </a:r>
            <a:endParaRPr kumimoji="0" lang="x-none" sz="2000" b="0" i="0" u="none" strike="noStrike" kern="1200" cap="none" spc="0" normalizeH="0" baseline="0" noProof="0" dirty="0">
              <a:ln>
                <a:noFill/>
              </a:ln>
              <a:solidFill>
                <a:schemeClr val="tx1"/>
              </a:solidFill>
              <a:effectLst/>
              <a:uLnTx/>
              <a:uFillTx/>
              <a:latin typeface="+mj-lt"/>
              <a:ea typeface="+mj-ea"/>
              <a:cs typeface="+mj-cs"/>
            </a:endParaRPr>
          </a:p>
          <a:p>
            <a:pPr marL="0" marR="0" indent="0" defTabSz="914400" rtl="0" eaLnBrk="1" fontAlgn="auto" latinLnBrk="0" hangingPunct="1">
              <a:lnSpc>
                <a:spcPct val="100000"/>
              </a:lnSpc>
              <a:spcBef>
                <a:spcPct val="0"/>
              </a:spcBef>
              <a:spcAft>
                <a:spcPts val="0"/>
              </a:spcAft>
              <a:buClrTx/>
              <a:buSzTx/>
              <a:buFontTx/>
              <a:buNone/>
              <a:tabLst/>
            </a:pPr>
            <a:r>
              <a:rPr lang="x-none" sz="2000" dirty="0">
                <a:latin typeface="+mj-lt"/>
                <a:ea typeface="+mj-ea"/>
                <a:cs typeface="+mj-cs"/>
              </a:rPr>
              <a:t>Generar diseño de prueba</a:t>
            </a:r>
            <a:endParaRPr kumimoji="0" lang="x-none" sz="2000" b="0" i="0" u="none" strike="noStrike" kern="1200" cap="none" spc="0" normalizeH="0" baseline="0" noProof="0" dirty="0">
              <a:ln>
                <a:noFill/>
              </a:ln>
              <a:solidFill>
                <a:schemeClr val="tx1"/>
              </a:solidFill>
              <a:effectLst/>
              <a:uLnTx/>
              <a:uFillTx/>
              <a:latin typeface="+mj-lt"/>
              <a:ea typeface="+mj-ea"/>
              <a:cs typeface="+mj-cs"/>
            </a:endParaRPr>
          </a:p>
          <a:p>
            <a:pPr marL="0" marR="0" indent="0" defTabSz="914400" rtl="0" eaLnBrk="1" fontAlgn="auto" latinLnBrk="0" hangingPunct="1">
              <a:lnSpc>
                <a:spcPct val="100000"/>
              </a:lnSpc>
              <a:spcBef>
                <a:spcPct val="0"/>
              </a:spcBef>
              <a:spcAft>
                <a:spcPts val="0"/>
              </a:spcAft>
              <a:buClrTx/>
              <a:buSzTx/>
              <a:buFontTx/>
              <a:buNone/>
              <a:tabLst/>
            </a:pPr>
            <a:r>
              <a:rPr kumimoji="0" lang="x-none" sz="2000" b="0" i="0" u="none" strike="noStrike" kern="1200" cap="none" spc="0" normalizeH="0" baseline="0" noProof="0" dirty="0">
                <a:ln>
                  <a:noFill/>
                </a:ln>
                <a:solidFill>
                  <a:schemeClr val="tx1"/>
                </a:solidFill>
                <a:effectLst/>
                <a:uLnTx/>
                <a:uFillTx/>
                <a:latin typeface="+mj-lt"/>
                <a:ea typeface="+mj-ea"/>
                <a:cs typeface="+mj-cs"/>
              </a:rPr>
              <a:t>Construir modelo (Entrenar y Probar)</a:t>
            </a:r>
          </a:p>
          <a:p>
            <a:pPr marL="0" marR="0" indent="0" defTabSz="914400" rtl="0" eaLnBrk="1" fontAlgn="auto" latinLnBrk="0" hangingPunct="1">
              <a:lnSpc>
                <a:spcPct val="100000"/>
              </a:lnSpc>
              <a:spcBef>
                <a:spcPct val="0"/>
              </a:spcBef>
              <a:spcAft>
                <a:spcPts val="0"/>
              </a:spcAft>
              <a:buClrTx/>
              <a:buSzTx/>
              <a:buFontTx/>
              <a:buNone/>
              <a:tabLst/>
            </a:pPr>
            <a:r>
              <a:rPr lang="x-none" sz="2000" dirty="0">
                <a:latin typeface="+mj-lt"/>
                <a:ea typeface="+mj-ea"/>
                <a:cs typeface="+mj-cs"/>
              </a:rPr>
              <a:t>Evaluar modelo</a:t>
            </a:r>
            <a:endParaRPr kumimoji="0" lang="x-none" sz="2000" b="0" i="0" u="none" strike="noStrike" kern="1200" cap="none" spc="0" normalizeH="0" baseline="0" noProof="0" dirty="0">
              <a:ln>
                <a:noFill/>
              </a:ln>
              <a:solidFill>
                <a:schemeClr val="tx1"/>
              </a:solidFill>
              <a:effectLst/>
              <a:uLnTx/>
              <a:uFillTx/>
              <a:latin typeface="+mj-lt"/>
              <a:ea typeface="+mj-ea"/>
              <a:cs typeface="+mj-cs"/>
            </a:endParaRPr>
          </a:p>
        </p:txBody>
      </p:sp>
      <p:sp>
        <p:nvSpPr>
          <p:cNvPr id="13" name="CuadroTexto 12">
            <a:extLst>
              <a:ext uri="{FF2B5EF4-FFF2-40B4-BE49-F238E27FC236}">
                <a16:creationId xmlns:a16="http://schemas.microsoft.com/office/drawing/2014/main" id="{31C2A2BE-4C5E-4CA0-AB60-821BFAA8B005}"/>
              </a:ext>
            </a:extLst>
          </p:cNvPr>
          <p:cNvSpPr txBox="1"/>
          <p:nvPr/>
        </p:nvSpPr>
        <p:spPr>
          <a:xfrm>
            <a:off x="1077137" y="4610237"/>
            <a:ext cx="2513245" cy="707886"/>
          </a:xfrm>
          <a:prstGeom prst="rect">
            <a:avLst/>
          </a:prstGeom>
        </p:spPr>
        <p:txBody>
          <a:bodyPr wrap="square" rtlCol="0">
            <a:spAutoFit/>
          </a:bodyPr>
          <a:lstStyle/>
          <a:p>
            <a:pPr marL="0" marR="0" indent="0" defTabSz="914400" rtl="0" eaLnBrk="1" fontAlgn="auto" latinLnBrk="0" hangingPunct="1">
              <a:lnSpc>
                <a:spcPct val="100000"/>
              </a:lnSpc>
              <a:spcBef>
                <a:spcPct val="0"/>
              </a:spcBef>
              <a:spcAft>
                <a:spcPts val="0"/>
              </a:spcAft>
              <a:buClrTx/>
              <a:buSzTx/>
              <a:buFontTx/>
              <a:buNone/>
              <a:tabLst/>
            </a:pPr>
            <a:r>
              <a:rPr kumimoji="0" lang="x-none" sz="2000" b="0" i="0" u="none" strike="noStrike" kern="1200" cap="none" spc="0" normalizeH="0" baseline="0" noProof="0" dirty="0">
                <a:ln>
                  <a:noFill/>
                </a:ln>
                <a:solidFill>
                  <a:schemeClr val="tx1"/>
                </a:solidFill>
                <a:effectLst/>
                <a:uLnTx/>
                <a:uFillTx/>
                <a:latin typeface="+mj-lt"/>
                <a:ea typeface="+mj-ea"/>
                <a:cs typeface="+mj-cs"/>
              </a:rPr>
              <a:t>Evaluar resultados</a:t>
            </a:r>
          </a:p>
          <a:p>
            <a:pPr marL="0" marR="0" indent="0" defTabSz="914400" rtl="0" eaLnBrk="1" fontAlgn="auto" latinLnBrk="0" hangingPunct="1">
              <a:lnSpc>
                <a:spcPct val="100000"/>
              </a:lnSpc>
              <a:spcBef>
                <a:spcPct val="0"/>
              </a:spcBef>
              <a:spcAft>
                <a:spcPts val="0"/>
              </a:spcAft>
              <a:buClrTx/>
              <a:buSzTx/>
              <a:buFontTx/>
              <a:buNone/>
              <a:tabLst/>
            </a:pPr>
            <a:r>
              <a:rPr kumimoji="0" lang="x-none" sz="2000" b="0" i="0" u="none" strike="noStrike" kern="1200" cap="none" spc="0" normalizeH="0" baseline="0" noProof="0" dirty="0">
                <a:ln>
                  <a:noFill/>
                </a:ln>
                <a:solidFill>
                  <a:schemeClr val="tx1"/>
                </a:solidFill>
                <a:effectLst/>
                <a:uLnTx/>
                <a:uFillTx/>
                <a:latin typeface="+mj-lt"/>
                <a:ea typeface="+mj-ea"/>
                <a:cs typeface="+mj-cs"/>
              </a:rPr>
              <a:t>Revisar proceso</a:t>
            </a:r>
          </a:p>
        </p:txBody>
      </p:sp>
      <p:sp>
        <p:nvSpPr>
          <p:cNvPr id="2" name="CuadroTexto 1">
            <a:extLst>
              <a:ext uri="{FF2B5EF4-FFF2-40B4-BE49-F238E27FC236}">
                <a16:creationId xmlns:a16="http://schemas.microsoft.com/office/drawing/2014/main" id="{8ACC484A-A7E0-4E9C-935C-D2C224D04BF8}"/>
              </a:ext>
            </a:extLst>
          </p:cNvPr>
          <p:cNvSpPr txBox="1"/>
          <p:nvPr/>
        </p:nvSpPr>
        <p:spPr>
          <a:xfrm>
            <a:off x="922148" y="6481991"/>
            <a:ext cx="3400613" cy="338554"/>
          </a:xfrm>
          <a:prstGeom prst="rect">
            <a:avLst/>
          </a:prstGeom>
        </p:spPr>
        <p:txBody>
          <a:bodyPr wrap="square" rtlCol="0">
            <a:sp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x-none" sz="1600" b="0" i="0" u="none" strike="noStrike" kern="1200" cap="none" spc="0" normalizeH="0" baseline="0" noProof="0" dirty="0">
                <a:ln>
                  <a:noFill/>
                </a:ln>
                <a:solidFill>
                  <a:schemeClr val="tx1"/>
                </a:solidFill>
                <a:effectLst/>
                <a:uLnTx/>
                <a:uFillTx/>
                <a:latin typeface="+mj-lt"/>
                <a:ea typeface="+mj-ea"/>
                <a:cs typeface="+mj-cs"/>
              </a:rPr>
              <a:t>* Basado en metodología CRISP-DM</a:t>
            </a:r>
          </a:p>
        </p:txBody>
      </p:sp>
      <p:sp>
        <p:nvSpPr>
          <p:cNvPr id="12" name="CuadroTexto 11">
            <a:extLst>
              <a:ext uri="{FF2B5EF4-FFF2-40B4-BE49-F238E27FC236}">
                <a16:creationId xmlns:a16="http://schemas.microsoft.com/office/drawing/2014/main" id="{BBBBE437-B566-499E-A85C-8FA357EEF607}"/>
              </a:ext>
            </a:extLst>
          </p:cNvPr>
          <p:cNvSpPr txBox="1"/>
          <p:nvPr/>
        </p:nvSpPr>
        <p:spPr>
          <a:xfrm>
            <a:off x="1077136" y="2281892"/>
            <a:ext cx="2513245" cy="707886"/>
          </a:xfrm>
          <a:prstGeom prst="rect">
            <a:avLst/>
          </a:prstGeom>
        </p:spPr>
        <p:txBody>
          <a:bodyPr wrap="square" rtlCol="0">
            <a:spAutoFit/>
          </a:bodyPr>
          <a:lstStyle/>
          <a:p>
            <a:pPr>
              <a:spcBef>
                <a:spcPct val="0"/>
              </a:spcBef>
            </a:pPr>
            <a:r>
              <a:rPr lang="x-none" sz="2000" dirty="0">
                <a:latin typeface="+mj-lt"/>
                <a:ea typeface="+mj-ea"/>
                <a:cs typeface="+mj-cs"/>
              </a:rPr>
              <a:t>Planear despliegue</a:t>
            </a:r>
          </a:p>
          <a:p>
            <a:pPr marL="0" marR="0" indent="0" defTabSz="914400" rtl="0" eaLnBrk="1" fontAlgn="auto" latinLnBrk="0" hangingPunct="1">
              <a:lnSpc>
                <a:spcPct val="100000"/>
              </a:lnSpc>
              <a:spcBef>
                <a:spcPct val="0"/>
              </a:spcBef>
              <a:spcAft>
                <a:spcPts val="0"/>
              </a:spcAft>
              <a:buClrTx/>
              <a:buSzTx/>
              <a:buFontTx/>
              <a:buNone/>
              <a:tabLst/>
            </a:pPr>
            <a:r>
              <a:rPr lang="es-419" sz="2000" dirty="0">
                <a:latin typeface="+mj-lt"/>
                <a:ea typeface="+mj-ea"/>
                <a:cs typeface="+mj-cs"/>
              </a:rPr>
              <a:t>H</a:t>
            </a:r>
            <a:r>
              <a:rPr kumimoji="0" lang="x-none" sz="2000" b="0" i="0" u="none" strike="noStrike" kern="1200" cap="none" spc="0" normalizeH="0" baseline="0" noProof="0" dirty="0">
                <a:ln>
                  <a:noFill/>
                </a:ln>
                <a:solidFill>
                  <a:schemeClr val="tx1"/>
                </a:solidFill>
                <a:effectLst/>
                <a:uLnTx/>
                <a:uFillTx/>
                <a:latin typeface="+mj-lt"/>
                <a:ea typeface="+mj-ea"/>
                <a:cs typeface="+mj-cs"/>
              </a:rPr>
              <a:t>a</a:t>
            </a:r>
            <a:r>
              <a:rPr kumimoji="0" lang="es-419" sz="2000" b="0" i="0" u="none" strike="noStrike" kern="1200" cap="none" spc="0" normalizeH="0" baseline="0" noProof="0" dirty="0">
                <a:ln>
                  <a:noFill/>
                </a:ln>
                <a:solidFill>
                  <a:schemeClr val="tx1"/>
                </a:solidFill>
                <a:effectLst/>
                <a:uLnTx/>
                <a:uFillTx/>
                <a:latin typeface="+mj-lt"/>
                <a:ea typeface="+mj-ea"/>
                <a:cs typeface="+mj-cs"/>
              </a:rPr>
              <a:t>ce</a:t>
            </a:r>
            <a:r>
              <a:rPr kumimoji="0" lang="x-none" sz="2000" b="0" i="0" u="none" strike="noStrike" kern="1200" cap="none" spc="0" normalizeH="0" baseline="0" noProof="0" dirty="0">
                <a:ln>
                  <a:noFill/>
                </a:ln>
                <a:solidFill>
                  <a:schemeClr val="tx1"/>
                </a:solidFill>
                <a:effectLst/>
                <a:uLnTx/>
                <a:uFillTx/>
                <a:latin typeface="+mj-lt"/>
                <a:ea typeface="+mj-ea"/>
                <a:cs typeface="+mj-cs"/>
              </a:rPr>
              <a:t>r despliegue</a:t>
            </a:r>
          </a:p>
        </p:txBody>
      </p:sp>
      <p:sp>
        <p:nvSpPr>
          <p:cNvPr id="5" name="Flecha derecha 4"/>
          <p:cNvSpPr/>
          <p:nvPr/>
        </p:nvSpPr>
        <p:spPr>
          <a:xfrm rot="19844381">
            <a:off x="7023105" y="5154044"/>
            <a:ext cx="172281" cy="408759"/>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chemeClr val="accent5"/>
              </a:solidFill>
            </a:endParaRPr>
          </a:p>
        </p:txBody>
      </p:sp>
      <p:sp>
        <p:nvSpPr>
          <p:cNvPr id="16" name="Flecha derecha 15"/>
          <p:cNvSpPr/>
          <p:nvPr/>
        </p:nvSpPr>
        <p:spPr>
          <a:xfrm rot="18599655">
            <a:off x="4676835" y="2904716"/>
            <a:ext cx="1530929" cy="631289"/>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chemeClr val="accent5"/>
              </a:solidFill>
            </a:endParaRPr>
          </a:p>
        </p:txBody>
      </p:sp>
      <p:sp>
        <p:nvSpPr>
          <p:cNvPr id="18" name="Flecha derecha 17"/>
          <p:cNvSpPr/>
          <p:nvPr/>
        </p:nvSpPr>
        <p:spPr>
          <a:xfrm rot="12779233">
            <a:off x="6994080" y="1652922"/>
            <a:ext cx="101640" cy="357173"/>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chemeClr val="accent5"/>
              </a:solidFill>
            </a:endParaRPr>
          </a:p>
        </p:txBody>
      </p:sp>
      <p:sp>
        <p:nvSpPr>
          <p:cNvPr id="3" name="1 Título">
            <a:extLst>
              <a:ext uri="{FF2B5EF4-FFF2-40B4-BE49-F238E27FC236}">
                <a16:creationId xmlns:a16="http://schemas.microsoft.com/office/drawing/2014/main" id="{C86440B3-58DF-4235-8981-CE33DBAF893C}"/>
              </a:ext>
            </a:extLst>
          </p:cNvPr>
          <p:cNvSpPr txBox="1">
            <a:spLocks/>
          </p:cNvSpPr>
          <p:nvPr/>
        </p:nvSpPr>
        <p:spPr>
          <a:xfrm>
            <a:off x="487163" y="272727"/>
            <a:ext cx="7913607" cy="729565"/>
          </a:xfrm>
          <a:prstGeom prst="rect">
            <a:avLst/>
          </a:prstGeom>
        </p:spPr>
        <p:txBody>
          <a:bodyPr vert="horz"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algn="l">
              <a:defRPr/>
            </a:pPr>
            <a:r>
              <a:rPr lang="es-CO" sz="3100" dirty="0">
                <a:solidFill>
                  <a:srgbClr val="62AC1E"/>
                </a:solidFill>
              </a:rPr>
              <a:t>Proceso Aprendizaje de máquina </a:t>
            </a:r>
          </a:p>
          <a:p>
            <a:pPr algn="l">
              <a:defRPr/>
            </a:pPr>
            <a:endParaRPr lang="es-CO" sz="3200" dirty="0">
              <a:solidFill>
                <a:srgbClr val="62AC1E"/>
              </a:solidFill>
            </a:endParaRPr>
          </a:p>
          <a:p>
            <a:pPr algn="l">
              <a:defRPr/>
            </a:pPr>
            <a:endParaRPr lang="es-CO" sz="3200" dirty="0">
              <a:solidFill>
                <a:srgbClr val="62AC1E"/>
              </a:solidFill>
            </a:endParaRPr>
          </a:p>
          <a:p>
            <a:pPr algn="l">
              <a:defRPr/>
            </a:pPr>
            <a:endParaRPr lang="es-CO" sz="3200" dirty="0">
              <a:solidFill>
                <a:srgbClr val="62AC1E"/>
              </a:solidFill>
            </a:endParaRPr>
          </a:p>
          <a:p>
            <a:pPr algn="l">
              <a:defRPr/>
            </a:pPr>
            <a:endParaRPr lang="es-ES" sz="3100" dirty="0">
              <a:solidFill>
                <a:srgbClr val="62AC1E"/>
              </a:solidFill>
              <a:latin typeface="+mn-lt"/>
              <a:ea typeface="+mn-ea"/>
              <a:cs typeface="+mn-cs"/>
            </a:endParaRPr>
          </a:p>
        </p:txBody>
      </p:sp>
    </p:spTree>
    <p:extLst>
      <p:ext uri="{BB962C8B-B14F-4D97-AF65-F5344CB8AC3E}">
        <p14:creationId xmlns:p14="http://schemas.microsoft.com/office/powerpoint/2010/main" val="3236053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10" grpId="0"/>
      <p:bldP spid="11" grpId="0"/>
      <p:bldP spid="13" grpId="0"/>
      <p:bldP spid="1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a:extLst>
              <a:ext uri="{FF2B5EF4-FFF2-40B4-BE49-F238E27FC236}">
                <a16:creationId xmlns:a16="http://schemas.microsoft.com/office/drawing/2014/main" id="{C86440B3-58DF-4235-8981-CE33DBAF893C}"/>
              </a:ext>
            </a:extLst>
          </p:cNvPr>
          <p:cNvSpPr txBox="1">
            <a:spLocks/>
          </p:cNvSpPr>
          <p:nvPr/>
        </p:nvSpPr>
        <p:spPr>
          <a:xfrm>
            <a:off x="530026" y="317403"/>
            <a:ext cx="4667616" cy="2794765"/>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algn="l">
              <a:defRPr/>
            </a:pPr>
            <a:r>
              <a:rPr lang="es-CO" sz="3200" dirty="0">
                <a:solidFill>
                  <a:srgbClr val="62AC1E"/>
                </a:solidFill>
              </a:rPr>
              <a:t>Metodología </a:t>
            </a:r>
            <a:r>
              <a:rPr lang="es-ES" sz="3200" dirty="0">
                <a:solidFill>
                  <a:srgbClr val="62AC1E"/>
                </a:solidFill>
              </a:rPr>
              <a:t>CRISP - DM (Cross </a:t>
            </a:r>
            <a:r>
              <a:rPr lang="es-ES" sz="3200" dirty="0" err="1">
                <a:solidFill>
                  <a:srgbClr val="62AC1E"/>
                </a:solidFill>
              </a:rPr>
              <a:t>Industry</a:t>
            </a:r>
            <a:r>
              <a:rPr lang="es-ES" sz="3200" dirty="0">
                <a:solidFill>
                  <a:srgbClr val="62AC1E"/>
                </a:solidFill>
              </a:rPr>
              <a:t> Standard </a:t>
            </a:r>
            <a:r>
              <a:rPr lang="es-ES" sz="3200" dirty="0" err="1">
                <a:solidFill>
                  <a:srgbClr val="62AC1E"/>
                </a:solidFill>
              </a:rPr>
              <a:t>Process</a:t>
            </a:r>
            <a:r>
              <a:rPr lang="es-ES" sz="3200" dirty="0">
                <a:solidFill>
                  <a:srgbClr val="62AC1E"/>
                </a:solidFill>
              </a:rPr>
              <a:t> </a:t>
            </a:r>
            <a:r>
              <a:rPr lang="es-ES" sz="3200" dirty="0" err="1">
                <a:solidFill>
                  <a:srgbClr val="62AC1E"/>
                </a:solidFill>
              </a:rPr>
              <a:t>for</a:t>
            </a:r>
            <a:r>
              <a:rPr lang="es-ES" sz="3200" dirty="0">
                <a:solidFill>
                  <a:srgbClr val="62AC1E"/>
                </a:solidFill>
              </a:rPr>
              <a:t> Data </a:t>
            </a:r>
            <a:r>
              <a:rPr lang="es-ES" sz="3200" dirty="0" err="1">
                <a:solidFill>
                  <a:srgbClr val="62AC1E"/>
                </a:solidFill>
              </a:rPr>
              <a:t>Mining</a:t>
            </a:r>
            <a:r>
              <a:rPr lang="es-ES" sz="3200" dirty="0">
                <a:solidFill>
                  <a:srgbClr val="62AC1E"/>
                </a:solidFill>
              </a:rPr>
              <a:t>)</a:t>
            </a:r>
            <a:endParaRPr lang="es-CO" sz="3200" dirty="0">
              <a:solidFill>
                <a:srgbClr val="62AC1E"/>
              </a:solidFill>
            </a:endParaRPr>
          </a:p>
          <a:p>
            <a:pPr algn="l">
              <a:defRPr/>
            </a:pPr>
            <a:endParaRPr lang="es-CO" sz="3200" dirty="0">
              <a:solidFill>
                <a:srgbClr val="62AC1E"/>
              </a:solidFill>
            </a:endParaRPr>
          </a:p>
          <a:p>
            <a:pPr algn="l">
              <a:defRPr/>
            </a:pPr>
            <a:endParaRPr lang="es-CO" sz="3200" dirty="0">
              <a:solidFill>
                <a:srgbClr val="62AC1E"/>
              </a:solidFill>
            </a:endParaRPr>
          </a:p>
          <a:p>
            <a:pPr algn="l">
              <a:defRPr/>
            </a:pPr>
            <a:endParaRPr lang="es-CO" sz="3200" dirty="0">
              <a:solidFill>
                <a:srgbClr val="62AC1E"/>
              </a:solidFill>
            </a:endParaRPr>
          </a:p>
          <a:p>
            <a:pPr algn="l">
              <a:defRPr/>
            </a:pPr>
            <a:endParaRPr lang="es-ES" sz="3100" dirty="0">
              <a:solidFill>
                <a:srgbClr val="62AC1E"/>
              </a:solidFill>
              <a:latin typeface="+mn-lt"/>
              <a:ea typeface="+mn-ea"/>
              <a:cs typeface="+mn-cs"/>
            </a:endParaRPr>
          </a:p>
        </p:txBody>
      </p:sp>
      <p:sp>
        <p:nvSpPr>
          <p:cNvPr id="22" name="Rectángulo 21">
            <a:hlinkClick r:id="rId3" action="ppaction://hlinksldjump"/>
            <a:extLst>
              <a:ext uri="{FF2B5EF4-FFF2-40B4-BE49-F238E27FC236}">
                <a16:creationId xmlns:a16="http://schemas.microsoft.com/office/drawing/2014/main" id="{D74CF98F-7C90-458D-9C1B-84ACBD608615}"/>
              </a:ext>
            </a:extLst>
          </p:cNvPr>
          <p:cNvSpPr/>
          <p:nvPr/>
        </p:nvSpPr>
        <p:spPr>
          <a:xfrm>
            <a:off x="11126560" y="22705"/>
            <a:ext cx="942535" cy="534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16" name="Shape 845" descr="Resultado de imagen para crisp dm"/>
          <p:cNvPicPr preferRelativeResize="0">
            <a:picLocks/>
          </p:cNvPicPr>
          <p:nvPr/>
        </p:nvPicPr>
        <p:blipFill rotWithShape="1">
          <a:blip r:embed="rId4">
            <a:alphaModFix/>
          </a:blip>
          <a:srcRect/>
          <a:stretch/>
        </p:blipFill>
        <p:spPr>
          <a:xfrm>
            <a:off x="5518756" y="317403"/>
            <a:ext cx="5607804" cy="5229561"/>
          </a:xfrm>
          <a:prstGeom prst="rect">
            <a:avLst/>
          </a:prstGeom>
          <a:noFill/>
          <a:ln>
            <a:noFill/>
          </a:ln>
        </p:spPr>
      </p:pic>
    </p:spTree>
    <p:extLst>
      <p:ext uri="{BB962C8B-B14F-4D97-AF65-F5344CB8AC3E}">
        <p14:creationId xmlns:p14="http://schemas.microsoft.com/office/powerpoint/2010/main" val="29105941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id="{65E95AEC-AD90-4C80-8315-D26B65C80C2E}"/>
              </a:ext>
            </a:extLst>
          </p:cNvPr>
          <p:cNvSpPr/>
          <p:nvPr/>
        </p:nvSpPr>
        <p:spPr>
          <a:xfrm>
            <a:off x="3398537" y="3820424"/>
            <a:ext cx="3900487" cy="2343150"/>
          </a:xfrm>
          <a:prstGeom prst="rect">
            <a:avLst/>
          </a:prstGeom>
          <a:solidFill>
            <a:srgbClr val="F2F2F2"/>
          </a:solidFill>
          <a:ln w="25400" cap="flat" cmpd="sng" algn="ctr">
            <a:solidFill>
              <a:srgbClr val="F2F2F2">
                <a:shade val="50000"/>
              </a:srgbClr>
            </a:solidFill>
            <a:prstDash val="solid"/>
          </a:ln>
          <a:effectLst/>
        </p:spPr>
        <p:txBody>
          <a:bodyPr vert="vert27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CO" sz="1600" b="0" i="0" u="none" strike="noStrike" kern="0" cap="none" spc="0" normalizeH="0" baseline="0" noProof="0" dirty="0">
                <a:ln>
                  <a:noFill/>
                </a:ln>
                <a:solidFill>
                  <a:srgbClr val="2F2F2F"/>
                </a:solidFill>
                <a:effectLst/>
                <a:uLnTx/>
                <a:uFillTx/>
                <a:latin typeface="Trebuchet MS"/>
                <a:ea typeface="+mn-ea"/>
                <a:cs typeface="+mn-cs"/>
              </a:rPr>
              <a:t>Capacidad Tecnológica</a:t>
            </a:r>
          </a:p>
        </p:txBody>
      </p:sp>
      <p:sp>
        <p:nvSpPr>
          <p:cNvPr id="11" name="Rectángulo 10">
            <a:extLst>
              <a:ext uri="{FF2B5EF4-FFF2-40B4-BE49-F238E27FC236}">
                <a16:creationId xmlns:a16="http://schemas.microsoft.com/office/drawing/2014/main" id="{A7B25E11-32BD-46B8-B298-D7A7FD729D4B}"/>
              </a:ext>
            </a:extLst>
          </p:cNvPr>
          <p:cNvSpPr/>
          <p:nvPr/>
        </p:nvSpPr>
        <p:spPr>
          <a:xfrm>
            <a:off x="3398536" y="1065925"/>
            <a:ext cx="3900487" cy="2343150"/>
          </a:xfrm>
          <a:prstGeom prst="rect">
            <a:avLst/>
          </a:prstGeom>
          <a:solidFill>
            <a:srgbClr val="F2F2F2"/>
          </a:solidFill>
          <a:ln w="25400" cap="flat" cmpd="sng" algn="ctr">
            <a:solidFill>
              <a:srgbClr val="F2F2F2">
                <a:shade val="50000"/>
              </a:srgbClr>
            </a:solidFill>
            <a:prstDash val="solid"/>
          </a:ln>
          <a:effectLst/>
        </p:spPr>
        <p:txBody>
          <a:bodyPr vert="vert27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CO" sz="1600" b="0" i="0" u="none" strike="noStrike" kern="0" cap="none" spc="0" normalizeH="0" baseline="0" noProof="0" dirty="0">
                <a:ln>
                  <a:noFill/>
                </a:ln>
                <a:solidFill>
                  <a:srgbClr val="2F2F2F"/>
                </a:solidFill>
                <a:effectLst/>
                <a:uLnTx/>
                <a:uFillTx/>
                <a:latin typeface="Trebuchet MS"/>
                <a:ea typeface="+mn-ea"/>
                <a:cs typeface="+mn-cs"/>
              </a:rPr>
              <a:t>Capacidad Intelectual</a:t>
            </a:r>
          </a:p>
        </p:txBody>
      </p:sp>
      <p:graphicFrame>
        <p:nvGraphicFramePr>
          <p:cNvPr id="12" name="Diagrama 11">
            <a:extLst>
              <a:ext uri="{FF2B5EF4-FFF2-40B4-BE49-F238E27FC236}">
                <a16:creationId xmlns:a16="http://schemas.microsoft.com/office/drawing/2014/main" id="{43506596-7386-4EA5-9684-0A1780ACE654}"/>
              </a:ext>
            </a:extLst>
          </p:cNvPr>
          <p:cNvGraphicFramePr/>
          <p:nvPr>
            <p:extLst/>
          </p:nvPr>
        </p:nvGraphicFramePr>
        <p:xfrm>
          <a:off x="2524720" y="1150147"/>
          <a:ext cx="8335935" cy="49577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ectángulo 1"/>
          <p:cNvSpPr/>
          <p:nvPr/>
        </p:nvSpPr>
        <p:spPr>
          <a:xfrm>
            <a:off x="687353" y="359697"/>
            <a:ext cx="6317114" cy="584775"/>
          </a:xfrm>
          <a:prstGeom prst="rect">
            <a:avLst/>
          </a:prstGeom>
        </p:spPr>
        <p:txBody>
          <a:bodyPr wrap="none">
            <a:spAutoFit/>
          </a:bodyPr>
          <a:lstStyle/>
          <a:p>
            <a:pPr marL="0" lvl="1">
              <a:defRPr/>
            </a:pPr>
            <a:r>
              <a:rPr lang="es-CO" sz="3200" b="1" dirty="0">
                <a:solidFill>
                  <a:srgbClr val="62AC1E"/>
                </a:solidFill>
              </a:rPr>
              <a:t>Elementos de una solución Analítica</a:t>
            </a:r>
          </a:p>
        </p:txBody>
      </p:sp>
    </p:spTree>
    <p:extLst>
      <p:ext uri="{BB962C8B-B14F-4D97-AF65-F5344CB8AC3E}">
        <p14:creationId xmlns:p14="http://schemas.microsoft.com/office/powerpoint/2010/main" val="390007945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cdn.app.compendium.com/uploads/user/e7c690e8-6ff9-102a-ac6d-e4aebca50425/f0499405-1197-4b43-b7c5-40548eeb9f34/Image/5f0b569126b3f2da0538b3ce34bd89d2/difference_between_ai__machine_learning_and_deep_learning.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38300" y="1118346"/>
            <a:ext cx="8448110" cy="4822714"/>
          </a:xfrm>
          <a:prstGeom prst="rect">
            <a:avLst/>
          </a:prstGeom>
          <a:noFill/>
          <a:extLst>
            <a:ext uri="{909E8E84-426E-40DD-AFC4-6F175D3DCCD1}">
              <a14:hiddenFill xmlns:a14="http://schemas.microsoft.com/office/drawing/2010/main">
                <a:solidFill>
                  <a:srgbClr val="FFFFFF"/>
                </a:solidFill>
              </a14:hiddenFill>
            </a:ext>
          </a:extLst>
        </p:spPr>
      </p:pic>
      <p:sp>
        <p:nvSpPr>
          <p:cNvPr id="4" name="Rectángulo 3"/>
          <p:cNvSpPr/>
          <p:nvPr/>
        </p:nvSpPr>
        <p:spPr>
          <a:xfrm>
            <a:off x="687353" y="359697"/>
            <a:ext cx="9658029" cy="584775"/>
          </a:xfrm>
          <a:prstGeom prst="rect">
            <a:avLst/>
          </a:prstGeom>
        </p:spPr>
        <p:txBody>
          <a:bodyPr wrap="none">
            <a:spAutoFit/>
          </a:bodyPr>
          <a:lstStyle/>
          <a:p>
            <a:pPr marL="0" lvl="1">
              <a:defRPr/>
            </a:pPr>
            <a:r>
              <a:rPr lang="es-CO" sz="3200" b="1" dirty="0">
                <a:solidFill>
                  <a:srgbClr val="62AC1E"/>
                </a:solidFill>
              </a:rPr>
              <a:t>Relación entre Machine </a:t>
            </a:r>
            <a:r>
              <a:rPr lang="es-CO" sz="3200" b="1" dirty="0" err="1">
                <a:solidFill>
                  <a:srgbClr val="62AC1E"/>
                </a:solidFill>
              </a:rPr>
              <a:t>Learning</a:t>
            </a:r>
            <a:r>
              <a:rPr lang="es-CO" sz="3200" b="1" dirty="0">
                <a:solidFill>
                  <a:srgbClr val="62AC1E"/>
                </a:solidFill>
              </a:rPr>
              <a:t> e Inteligencia Artificial</a:t>
            </a:r>
          </a:p>
        </p:txBody>
      </p:sp>
      <p:sp>
        <p:nvSpPr>
          <p:cNvPr id="2" name="Rectángulo 1"/>
          <p:cNvSpPr/>
          <p:nvPr/>
        </p:nvSpPr>
        <p:spPr>
          <a:xfrm>
            <a:off x="8058051" y="6114934"/>
            <a:ext cx="1557093" cy="369332"/>
          </a:xfrm>
          <a:prstGeom prst="rect">
            <a:avLst/>
          </a:prstGeom>
        </p:spPr>
        <p:txBody>
          <a:bodyPr wrap="none">
            <a:spAutoFit/>
          </a:bodyPr>
          <a:lstStyle/>
          <a:p>
            <a:r>
              <a:rPr lang="es-CO" dirty="0" err="1">
                <a:solidFill>
                  <a:srgbClr val="5F5F5F"/>
                </a:solidFill>
                <a:sym typeface="Calibri"/>
              </a:rPr>
              <a:t>Fuente</a:t>
            </a:r>
            <a:r>
              <a:rPr lang="es-CO" dirty="0" err="1">
                <a:solidFill>
                  <a:srgbClr val="666666"/>
                </a:solidFill>
                <a:ea typeface="Calibri"/>
                <a:cs typeface="Calibri"/>
                <a:sym typeface="Calibri"/>
              </a:rPr>
              <a:t>:Oracle</a:t>
            </a:r>
            <a:r>
              <a:rPr lang="es-CO" dirty="0">
                <a:solidFill>
                  <a:srgbClr val="666666"/>
                </a:solidFill>
                <a:ea typeface="Calibri"/>
                <a:cs typeface="Calibri"/>
                <a:sym typeface="Calibri"/>
              </a:rPr>
              <a:t> </a:t>
            </a:r>
            <a:endParaRPr lang="es-CO" dirty="0"/>
          </a:p>
        </p:txBody>
      </p:sp>
    </p:spTree>
    <p:extLst>
      <p:ext uri="{BB962C8B-B14F-4D97-AF65-F5344CB8AC3E}">
        <p14:creationId xmlns:p14="http://schemas.microsoft.com/office/powerpoint/2010/main" val="217033027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a:extLst>
              <a:ext uri="{FF2B5EF4-FFF2-40B4-BE49-F238E27FC236}">
                <a16:creationId xmlns:a16="http://schemas.microsoft.com/office/drawing/2014/main" id="{C86440B3-58DF-4235-8981-CE33DBAF893C}"/>
              </a:ext>
            </a:extLst>
          </p:cNvPr>
          <p:cNvSpPr txBox="1">
            <a:spLocks/>
          </p:cNvSpPr>
          <p:nvPr/>
        </p:nvSpPr>
        <p:spPr>
          <a:xfrm>
            <a:off x="629966" y="302767"/>
            <a:ext cx="11062867"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marL="0" marR="0" lvl="0" indent="0" algn="l" defTabSz="914400" rtl="0" eaLnBrk="1" fontAlgn="auto" latinLnBrk="0" hangingPunct="1">
              <a:lnSpc>
                <a:spcPts val="4000"/>
              </a:lnSpc>
              <a:spcBef>
                <a:spcPct val="0"/>
              </a:spcBef>
              <a:spcAft>
                <a:spcPts val="0"/>
              </a:spcAft>
              <a:buClrTx/>
              <a:buSzTx/>
              <a:buFontTx/>
              <a:buNone/>
              <a:tabLst/>
              <a:defRPr/>
            </a:pPr>
            <a:r>
              <a:rPr lang="es-ES" sz="3200" dirty="0" smtClean="0">
                <a:solidFill>
                  <a:srgbClr val="62AC1E"/>
                </a:solidFill>
                <a:latin typeface="+mn-lt"/>
                <a:ea typeface="+mn-ea"/>
                <a:cs typeface="+mn-cs"/>
              </a:rPr>
              <a:t>Deep Blue</a:t>
            </a:r>
            <a:endParaRPr lang="es-ES" sz="3200" dirty="0">
              <a:solidFill>
                <a:srgbClr val="62AC1E"/>
              </a:solidFill>
              <a:latin typeface="+mn-lt"/>
              <a:ea typeface="+mn-ea"/>
              <a:cs typeface="+mn-cs"/>
            </a:endParaRPr>
          </a:p>
        </p:txBody>
      </p:sp>
      <p:sp>
        <p:nvSpPr>
          <p:cNvPr id="22" name="Rectángulo 21">
            <a:hlinkClick r:id="rId3" action="ppaction://hlinksldjump"/>
            <a:extLst>
              <a:ext uri="{FF2B5EF4-FFF2-40B4-BE49-F238E27FC236}">
                <a16:creationId xmlns:a16="http://schemas.microsoft.com/office/drawing/2014/main" id="{D74CF98F-7C90-458D-9C1B-84ACBD608615}"/>
              </a:ext>
            </a:extLst>
          </p:cNvPr>
          <p:cNvSpPr/>
          <p:nvPr/>
        </p:nvSpPr>
        <p:spPr>
          <a:xfrm>
            <a:off x="11126560" y="22705"/>
            <a:ext cx="942535" cy="534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4" name="Imagen 3"/>
          <p:cNvPicPr>
            <a:picLocks noChangeAspect="1"/>
          </p:cNvPicPr>
          <p:nvPr/>
        </p:nvPicPr>
        <p:blipFill>
          <a:blip r:embed="rId4"/>
          <a:stretch>
            <a:fillRect/>
          </a:stretch>
        </p:blipFill>
        <p:spPr>
          <a:xfrm>
            <a:off x="2597818" y="953890"/>
            <a:ext cx="6941704" cy="5206278"/>
          </a:xfrm>
          <a:prstGeom prst="rect">
            <a:avLst/>
          </a:prstGeom>
        </p:spPr>
      </p:pic>
    </p:spTree>
    <p:extLst>
      <p:ext uri="{BB962C8B-B14F-4D97-AF65-F5344CB8AC3E}">
        <p14:creationId xmlns:p14="http://schemas.microsoft.com/office/powerpoint/2010/main" val="34478143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1">
            <a:extLst>
              <a:ext uri="{FF2B5EF4-FFF2-40B4-BE49-F238E27FC236}">
                <a16:creationId xmlns:a16="http://schemas.microsoft.com/office/drawing/2014/main" id="{5AC0610A-2C4E-4243-8269-6739011034B0}"/>
              </a:ext>
            </a:extLst>
          </p:cNvPr>
          <p:cNvSpPr txBox="1">
            <a:spLocks/>
          </p:cNvSpPr>
          <p:nvPr/>
        </p:nvSpPr>
        <p:spPr>
          <a:xfrm>
            <a:off x="684387" y="438788"/>
            <a:ext cx="5090624" cy="584775"/>
          </a:xfrm>
          <a:prstGeom prst="rect">
            <a:avLst/>
          </a:prstGeom>
          <a:noFill/>
        </p:spPr>
        <p:txBody>
          <a:bodyPr wrap="none" rtlCol="0">
            <a:spAutoFit/>
          </a:bodyPr>
          <a:lstStyle>
            <a:defPPr>
              <a:defRPr lang="es-CO"/>
            </a:defPPr>
            <a:lvl1pPr>
              <a:defRPr sz="2800">
                <a:latin typeface="VAGRounded BT" panose="020F0702020204020204" pitchFamily="34" charset="0"/>
              </a:defRPr>
            </a:lvl1pPr>
          </a:lstStyle>
          <a:p>
            <a:r>
              <a:rPr lang="es-ES_tradnl" sz="3200" b="1" dirty="0">
                <a:solidFill>
                  <a:srgbClr val="62AC1E"/>
                </a:solidFill>
                <a:latin typeface="+mn-lt"/>
              </a:rPr>
              <a:t>Técnicas de Análisis de Datos</a:t>
            </a:r>
            <a:endParaRPr lang="es-CO" sz="3200" b="1" dirty="0">
              <a:solidFill>
                <a:srgbClr val="62AC1E"/>
              </a:solidFill>
              <a:latin typeface="+mn-lt"/>
            </a:endParaRPr>
          </a:p>
        </p:txBody>
      </p:sp>
      <p:sp>
        <p:nvSpPr>
          <p:cNvPr id="5" name="Freeform 196">
            <a:extLst>
              <a:ext uri="{FF2B5EF4-FFF2-40B4-BE49-F238E27FC236}">
                <a16:creationId xmlns:a16="http://schemas.microsoft.com/office/drawing/2014/main" id="{6384ECE7-B8A7-4061-AEFB-F03993984038}"/>
              </a:ext>
            </a:extLst>
          </p:cNvPr>
          <p:cNvSpPr>
            <a:spLocks noEditPoints="1"/>
          </p:cNvSpPr>
          <p:nvPr/>
        </p:nvSpPr>
        <p:spPr bwMode="auto">
          <a:xfrm>
            <a:off x="5648929" y="839471"/>
            <a:ext cx="720725" cy="719137"/>
          </a:xfrm>
          <a:custGeom>
            <a:avLst/>
            <a:gdLst>
              <a:gd name="T0" fmla="*/ 2147483646 w 660"/>
              <a:gd name="T1" fmla="*/ 2147483646 h 662"/>
              <a:gd name="T2" fmla="*/ 2147483646 w 660"/>
              <a:gd name="T3" fmla="*/ 2147483646 h 662"/>
              <a:gd name="T4" fmla="*/ 2147483646 w 660"/>
              <a:gd name="T5" fmla="*/ 2147483646 h 662"/>
              <a:gd name="T6" fmla="*/ 2147483646 w 660"/>
              <a:gd name="T7" fmla="*/ 2147483646 h 662"/>
              <a:gd name="T8" fmla="*/ 2147483646 w 660"/>
              <a:gd name="T9" fmla="*/ 2147483646 h 662"/>
              <a:gd name="T10" fmla="*/ 2147483646 w 660"/>
              <a:gd name="T11" fmla="*/ 2147483646 h 662"/>
              <a:gd name="T12" fmla="*/ 2147483646 w 660"/>
              <a:gd name="T13" fmla="*/ 2147483646 h 662"/>
              <a:gd name="T14" fmla="*/ 2147483646 w 660"/>
              <a:gd name="T15" fmla="*/ 2147483646 h 662"/>
              <a:gd name="T16" fmla="*/ 2147483646 w 660"/>
              <a:gd name="T17" fmla="*/ 2147483646 h 662"/>
              <a:gd name="T18" fmla="*/ 2147483646 w 660"/>
              <a:gd name="T19" fmla="*/ 2147483646 h 662"/>
              <a:gd name="T20" fmla="*/ 2147483646 w 660"/>
              <a:gd name="T21" fmla="*/ 2147483646 h 662"/>
              <a:gd name="T22" fmla="*/ 2147483646 w 660"/>
              <a:gd name="T23" fmla="*/ 2147483646 h 662"/>
              <a:gd name="T24" fmla="*/ 2147483646 w 660"/>
              <a:gd name="T25" fmla="*/ 2147483646 h 662"/>
              <a:gd name="T26" fmla="*/ 2147483646 w 660"/>
              <a:gd name="T27" fmla="*/ 2147483646 h 662"/>
              <a:gd name="T28" fmla="*/ 2147483646 w 660"/>
              <a:gd name="T29" fmla="*/ 0 h 662"/>
              <a:gd name="T30" fmla="*/ 2147483646 w 660"/>
              <a:gd name="T31" fmla="*/ 2147483646 h 662"/>
              <a:gd name="T32" fmla="*/ 2147483646 w 660"/>
              <a:gd name="T33" fmla="*/ 2147483646 h 662"/>
              <a:gd name="T34" fmla="*/ 2147483646 w 660"/>
              <a:gd name="T35" fmla="*/ 2147483646 h 662"/>
              <a:gd name="T36" fmla="*/ 2147483646 w 660"/>
              <a:gd name="T37" fmla="*/ 2147483646 h 662"/>
              <a:gd name="T38" fmla="*/ 2147483646 w 660"/>
              <a:gd name="T39" fmla="*/ 2147483646 h 662"/>
              <a:gd name="T40" fmla="*/ 2147483646 w 660"/>
              <a:gd name="T41" fmla="*/ 2147483646 h 662"/>
              <a:gd name="T42" fmla="*/ 2147483646 w 660"/>
              <a:gd name="T43" fmla="*/ 2147483646 h 662"/>
              <a:gd name="T44" fmla="*/ 2147483646 w 660"/>
              <a:gd name="T45" fmla="*/ 2147483646 h 662"/>
              <a:gd name="T46" fmla="*/ 2147483646 w 660"/>
              <a:gd name="T47" fmla="*/ 2147483646 h 662"/>
              <a:gd name="T48" fmla="*/ 2147483646 w 660"/>
              <a:gd name="T49" fmla="*/ 2147483646 h 662"/>
              <a:gd name="T50" fmla="*/ 2147483646 w 660"/>
              <a:gd name="T51" fmla="*/ 2147483646 h 662"/>
              <a:gd name="T52" fmla="*/ 2147483646 w 660"/>
              <a:gd name="T53" fmla="*/ 2147483646 h 662"/>
              <a:gd name="T54" fmla="*/ 2147483646 w 660"/>
              <a:gd name="T55" fmla="*/ 2147483646 h 662"/>
              <a:gd name="T56" fmla="*/ 2147483646 w 660"/>
              <a:gd name="T57" fmla="*/ 2147483646 h 662"/>
              <a:gd name="T58" fmla="*/ 2147483646 w 660"/>
              <a:gd name="T59" fmla="*/ 2147483646 h 662"/>
              <a:gd name="T60" fmla="*/ 2147483646 w 660"/>
              <a:gd name="T61" fmla="*/ 2147483646 h 662"/>
              <a:gd name="T62" fmla="*/ 2147483646 w 660"/>
              <a:gd name="T63" fmla="*/ 2147483646 h 662"/>
              <a:gd name="T64" fmla="*/ 2147483646 w 660"/>
              <a:gd name="T65" fmla="*/ 2147483646 h 662"/>
              <a:gd name="T66" fmla="*/ 2147483646 w 660"/>
              <a:gd name="T67" fmla="*/ 2147483646 h 662"/>
              <a:gd name="T68" fmla="*/ 2147483646 w 660"/>
              <a:gd name="T69" fmla="*/ 2147483646 h 662"/>
              <a:gd name="T70" fmla="*/ 2147483646 w 660"/>
              <a:gd name="T71" fmla="*/ 2147483646 h 662"/>
              <a:gd name="T72" fmla="*/ 2147483646 w 660"/>
              <a:gd name="T73" fmla="*/ 2147483646 h 662"/>
              <a:gd name="T74" fmla="*/ 2147483646 w 660"/>
              <a:gd name="T75" fmla="*/ 2147483646 h 662"/>
              <a:gd name="T76" fmla="*/ 2147483646 w 660"/>
              <a:gd name="T77" fmla="*/ 2147483646 h 662"/>
              <a:gd name="T78" fmla="*/ 2147483646 w 660"/>
              <a:gd name="T79" fmla="*/ 2147483646 h 662"/>
              <a:gd name="T80" fmla="*/ 2147483646 w 660"/>
              <a:gd name="T81" fmla="*/ 2147483646 h 662"/>
              <a:gd name="T82" fmla="*/ 2147483646 w 660"/>
              <a:gd name="T83" fmla="*/ 2147483646 h 662"/>
              <a:gd name="T84" fmla="*/ 2147483646 w 660"/>
              <a:gd name="T85" fmla="*/ 2147483646 h 662"/>
              <a:gd name="T86" fmla="*/ 2147483646 w 660"/>
              <a:gd name="T87" fmla="*/ 2147483646 h 662"/>
              <a:gd name="T88" fmla="*/ 2147483646 w 660"/>
              <a:gd name="T89" fmla="*/ 2147483646 h 662"/>
              <a:gd name="T90" fmla="*/ 2147483646 w 660"/>
              <a:gd name="T91" fmla="*/ 2147483646 h 662"/>
              <a:gd name="T92" fmla="*/ 2147483646 w 660"/>
              <a:gd name="T93" fmla="*/ 2147483646 h 662"/>
              <a:gd name="T94" fmla="*/ 2147483646 w 660"/>
              <a:gd name="T95" fmla="*/ 2147483646 h 662"/>
              <a:gd name="T96" fmla="*/ 2147483646 w 660"/>
              <a:gd name="T97" fmla="*/ 2147483646 h 662"/>
              <a:gd name="T98" fmla="*/ 2147483646 w 660"/>
              <a:gd name="T99" fmla="*/ 2147483646 h 662"/>
              <a:gd name="T100" fmla="*/ 0 w 660"/>
              <a:gd name="T101" fmla="*/ 2147483646 h 662"/>
              <a:gd name="T102" fmla="*/ 2147483646 w 660"/>
              <a:gd name="T103" fmla="*/ 2147483646 h 662"/>
              <a:gd name="T104" fmla="*/ 2147483646 w 660"/>
              <a:gd name="T105" fmla="*/ 2147483646 h 662"/>
              <a:gd name="T106" fmla="*/ 2147483646 w 660"/>
              <a:gd name="T107" fmla="*/ 2147483646 h 662"/>
              <a:gd name="T108" fmla="*/ 2147483646 w 660"/>
              <a:gd name="T109" fmla="*/ 2147483646 h 662"/>
              <a:gd name="T110" fmla="*/ 2147483646 w 660"/>
              <a:gd name="T111" fmla="*/ 2147483646 h 662"/>
              <a:gd name="T112" fmla="*/ 2147483646 w 660"/>
              <a:gd name="T113" fmla="*/ 2147483646 h 662"/>
              <a:gd name="T114" fmla="*/ 2147483646 w 660"/>
              <a:gd name="T115" fmla="*/ 2147483646 h 662"/>
              <a:gd name="T116" fmla="*/ 2147483646 w 660"/>
              <a:gd name="T117" fmla="*/ 2147483646 h 662"/>
              <a:gd name="T118" fmla="*/ 2147483646 w 660"/>
              <a:gd name="T119" fmla="*/ 2147483646 h 662"/>
              <a:gd name="T120" fmla="*/ 2147483646 w 660"/>
              <a:gd name="T121" fmla="*/ 2147483646 h 662"/>
              <a:gd name="T122" fmla="*/ 2147483646 w 660"/>
              <a:gd name="T123" fmla="*/ 2147483646 h 662"/>
              <a:gd name="T124" fmla="*/ 2147483646 w 660"/>
              <a:gd name="T125" fmla="*/ 0 h 66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60"/>
              <a:gd name="T190" fmla="*/ 0 h 662"/>
              <a:gd name="T191" fmla="*/ 660 w 660"/>
              <a:gd name="T192" fmla="*/ 662 h 66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60" h="662">
                <a:moveTo>
                  <a:pt x="324" y="224"/>
                </a:moveTo>
                <a:lnTo>
                  <a:pt x="300" y="228"/>
                </a:lnTo>
                <a:lnTo>
                  <a:pt x="278" y="237"/>
                </a:lnTo>
                <a:lnTo>
                  <a:pt x="258" y="252"/>
                </a:lnTo>
                <a:lnTo>
                  <a:pt x="241" y="270"/>
                </a:lnTo>
                <a:lnTo>
                  <a:pt x="231" y="291"/>
                </a:lnTo>
                <a:lnTo>
                  <a:pt x="224" y="313"/>
                </a:lnTo>
                <a:lnTo>
                  <a:pt x="223" y="337"/>
                </a:lnTo>
                <a:lnTo>
                  <a:pt x="227" y="360"/>
                </a:lnTo>
                <a:lnTo>
                  <a:pt x="236" y="383"/>
                </a:lnTo>
                <a:lnTo>
                  <a:pt x="250" y="402"/>
                </a:lnTo>
                <a:lnTo>
                  <a:pt x="269" y="419"/>
                </a:lnTo>
                <a:lnTo>
                  <a:pt x="290" y="431"/>
                </a:lnTo>
                <a:lnTo>
                  <a:pt x="313" y="436"/>
                </a:lnTo>
                <a:lnTo>
                  <a:pt x="337" y="438"/>
                </a:lnTo>
                <a:lnTo>
                  <a:pt x="359" y="434"/>
                </a:lnTo>
                <a:lnTo>
                  <a:pt x="381" y="425"/>
                </a:lnTo>
                <a:lnTo>
                  <a:pt x="402" y="410"/>
                </a:lnTo>
                <a:lnTo>
                  <a:pt x="418" y="392"/>
                </a:lnTo>
                <a:lnTo>
                  <a:pt x="430" y="371"/>
                </a:lnTo>
                <a:lnTo>
                  <a:pt x="436" y="349"/>
                </a:lnTo>
                <a:lnTo>
                  <a:pt x="438" y="325"/>
                </a:lnTo>
                <a:lnTo>
                  <a:pt x="434" y="302"/>
                </a:lnTo>
                <a:lnTo>
                  <a:pt x="424" y="279"/>
                </a:lnTo>
                <a:lnTo>
                  <a:pt x="410" y="260"/>
                </a:lnTo>
                <a:lnTo>
                  <a:pt x="392" y="243"/>
                </a:lnTo>
                <a:lnTo>
                  <a:pt x="369" y="231"/>
                </a:lnTo>
                <a:lnTo>
                  <a:pt x="347" y="226"/>
                </a:lnTo>
                <a:lnTo>
                  <a:pt x="324" y="224"/>
                </a:lnTo>
                <a:close/>
                <a:moveTo>
                  <a:pt x="311" y="0"/>
                </a:moveTo>
                <a:lnTo>
                  <a:pt x="313" y="11"/>
                </a:lnTo>
                <a:lnTo>
                  <a:pt x="324" y="63"/>
                </a:lnTo>
                <a:lnTo>
                  <a:pt x="364" y="66"/>
                </a:lnTo>
                <a:lnTo>
                  <a:pt x="380" y="15"/>
                </a:lnTo>
                <a:lnTo>
                  <a:pt x="384" y="4"/>
                </a:lnTo>
                <a:lnTo>
                  <a:pt x="393" y="8"/>
                </a:lnTo>
                <a:lnTo>
                  <a:pt x="469" y="32"/>
                </a:lnTo>
                <a:lnTo>
                  <a:pt x="478" y="36"/>
                </a:lnTo>
                <a:lnTo>
                  <a:pt x="476" y="45"/>
                </a:lnTo>
                <a:lnTo>
                  <a:pt x="459" y="96"/>
                </a:lnTo>
                <a:lnTo>
                  <a:pt x="491" y="118"/>
                </a:lnTo>
                <a:lnTo>
                  <a:pt x="532" y="82"/>
                </a:lnTo>
                <a:lnTo>
                  <a:pt x="540" y="75"/>
                </a:lnTo>
                <a:lnTo>
                  <a:pt x="546" y="83"/>
                </a:lnTo>
                <a:lnTo>
                  <a:pt x="599" y="142"/>
                </a:lnTo>
                <a:lnTo>
                  <a:pt x="607" y="150"/>
                </a:lnTo>
                <a:lnTo>
                  <a:pt x="599" y="156"/>
                </a:lnTo>
                <a:lnTo>
                  <a:pt x="558" y="192"/>
                </a:lnTo>
                <a:lnTo>
                  <a:pt x="576" y="227"/>
                </a:lnTo>
                <a:lnTo>
                  <a:pt x="629" y="216"/>
                </a:lnTo>
                <a:lnTo>
                  <a:pt x="639" y="214"/>
                </a:lnTo>
                <a:lnTo>
                  <a:pt x="642" y="224"/>
                </a:lnTo>
                <a:lnTo>
                  <a:pt x="658" y="302"/>
                </a:lnTo>
                <a:lnTo>
                  <a:pt x="660" y="312"/>
                </a:lnTo>
                <a:lnTo>
                  <a:pt x="650" y="313"/>
                </a:lnTo>
                <a:lnTo>
                  <a:pt x="597" y="325"/>
                </a:lnTo>
                <a:lnTo>
                  <a:pt x="595" y="364"/>
                </a:lnTo>
                <a:lnTo>
                  <a:pt x="647" y="381"/>
                </a:lnTo>
                <a:lnTo>
                  <a:pt x="656" y="384"/>
                </a:lnTo>
                <a:lnTo>
                  <a:pt x="654" y="395"/>
                </a:lnTo>
                <a:lnTo>
                  <a:pt x="629" y="469"/>
                </a:lnTo>
                <a:lnTo>
                  <a:pt x="626" y="480"/>
                </a:lnTo>
                <a:lnTo>
                  <a:pt x="616" y="476"/>
                </a:lnTo>
                <a:lnTo>
                  <a:pt x="565" y="459"/>
                </a:lnTo>
                <a:lnTo>
                  <a:pt x="542" y="493"/>
                </a:lnTo>
                <a:lnTo>
                  <a:pt x="579" y="533"/>
                </a:lnTo>
                <a:lnTo>
                  <a:pt x="586" y="540"/>
                </a:lnTo>
                <a:lnTo>
                  <a:pt x="578" y="548"/>
                </a:lnTo>
                <a:lnTo>
                  <a:pt x="520" y="600"/>
                </a:lnTo>
                <a:lnTo>
                  <a:pt x="512" y="607"/>
                </a:lnTo>
                <a:lnTo>
                  <a:pt x="506" y="600"/>
                </a:lnTo>
                <a:lnTo>
                  <a:pt x="469" y="560"/>
                </a:lnTo>
                <a:lnTo>
                  <a:pt x="434" y="578"/>
                </a:lnTo>
                <a:lnTo>
                  <a:pt x="444" y="630"/>
                </a:lnTo>
                <a:lnTo>
                  <a:pt x="447" y="641"/>
                </a:lnTo>
                <a:lnTo>
                  <a:pt x="436" y="642"/>
                </a:lnTo>
                <a:lnTo>
                  <a:pt x="359" y="659"/>
                </a:lnTo>
                <a:lnTo>
                  <a:pt x="350" y="662"/>
                </a:lnTo>
                <a:lnTo>
                  <a:pt x="347" y="651"/>
                </a:lnTo>
                <a:lnTo>
                  <a:pt x="335" y="599"/>
                </a:lnTo>
                <a:lnTo>
                  <a:pt x="296" y="596"/>
                </a:lnTo>
                <a:lnTo>
                  <a:pt x="279" y="647"/>
                </a:lnTo>
                <a:lnTo>
                  <a:pt x="276" y="658"/>
                </a:lnTo>
                <a:lnTo>
                  <a:pt x="267" y="654"/>
                </a:lnTo>
                <a:lnTo>
                  <a:pt x="191" y="630"/>
                </a:lnTo>
                <a:lnTo>
                  <a:pt x="182" y="626"/>
                </a:lnTo>
                <a:lnTo>
                  <a:pt x="185" y="617"/>
                </a:lnTo>
                <a:lnTo>
                  <a:pt x="202" y="566"/>
                </a:lnTo>
                <a:lnTo>
                  <a:pt x="168" y="544"/>
                </a:lnTo>
                <a:lnTo>
                  <a:pt x="128" y="580"/>
                </a:lnTo>
                <a:lnTo>
                  <a:pt x="121" y="587"/>
                </a:lnTo>
                <a:lnTo>
                  <a:pt x="114" y="579"/>
                </a:lnTo>
                <a:lnTo>
                  <a:pt x="60" y="520"/>
                </a:lnTo>
                <a:lnTo>
                  <a:pt x="54" y="512"/>
                </a:lnTo>
                <a:lnTo>
                  <a:pt x="62" y="506"/>
                </a:lnTo>
                <a:lnTo>
                  <a:pt x="102" y="470"/>
                </a:lnTo>
                <a:lnTo>
                  <a:pt x="84" y="434"/>
                </a:lnTo>
                <a:lnTo>
                  <a:pt x="30" y="446"/>
                </a:lnTo>
                <a:lnTo>
                  <a:pt x="21" y="448"/>
                </a:lnTo>
                <a:lnTo>
                  <a:pt x="18" y="438"/>
                </a:lnTo>
                <a:lnTo>
                  <a:pt x="1" y="360"/>
                </a:lnTo>
                <a:lnTo>
                  <a:pt x="0" y="350"/>
                </a:lnTo>
                <a:lnTo>
                  <a:pt x="9" y="349"/>
                </a:lnTo>
                <a:lnTo>
                  <a:pt x="63" y="337"/>
                </a:lnTo>
                <a:lnTo>
                  <a:pt x="64" y="298"/>
                </a:lnTo>
                <a:lnTo>
                  <a:pt x="13" y="281"/>
                </a:lnTo>
                <a:lnTo>
                  <a:pt x="4" y="278"/>
                </a:lnTo>
                <a:lnTo>
                  <a:pt x="7" y="267"/>
                </a:lnTo>
                <a:lnTo>
                  <a:pt x="32" y="193"/>
                </a:lnTo>
                <a:lnTo>
                  <a:pt x="34" y="182"/>
                </a:lnTo>
                <a:lnTo>
                  <a:pt x="45" y="186"/>
                </a:lnTo>
                <a:lnTo>
                  <a:pt x="96" y="203"/>
                </a:lnTo>
                <a:lnTo>
                  <a:pt x="117" y="169"/>
                </a:lnTo>
                <a:lnTo>
                  <a:pt x="81" y="129"/>
                </a:lnTo>
                <a:lnTo>
                  <a:pt x="73" y="122"/>
                </a:lnTo>
                <a:lnTo>
                  <a:pt x="81" y="114"/>
                </a:lnTo>
                <a:lnTo>
                  <a:pt x="140" y="62"/>
                </a:lnTo>
                <a:lnTo>
                  <a:pt x="148" y="55"/>
                </a:lnTo>
                <a:lnTo>
                  <a:pt x="155" y="62"/>
                </a:lnTo>
                <a:lnTo>
                  <a:pt x="191" y="102"/>
                </a:lnTo>
                <a:lnTo>
                  <a:pt x="227" y="84"/>
                </a:lnTo>
                <a:lnTo>
                  <a:pt x="215" y="32"/>
                </a:lnTo>
                <a:lnTo>
                  <a:pt x="214" y="21"/>
                </a:lnTo>
                <a:lnTo>
                  <a:pt x="223" y="20"/>
                </a:lnTo>
                <a:lnTo>
                  <a:pt x="300" y="3"/>
                </a:lnTo>
                <a:lnTo>
                  <a:pt x="311" y="0"/>
                </a:lnTo>
                <a:close/>
              </a:path>
            </a:pathLst>
          </a:custGeom>
          <a:solidFill>
            <a:srgbClr val="1BAE96"/>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s-ES"/>
          </a:p>
        </p:txBody>
      </p:sp>
      <p:grpSp>
        <p:nvGrpSpPr>
          <p:cNvPr id="6" name="Grupo 13">
            <a:extLst>
              <a:ext uri="{FF2B5EF4-FFF2-40B4-BE49-F238E27FC236}">
                <a16:creationId xmlns:a16="http://schemas.microsoft.com/office/drawing/2014/main" id="{EC9B199E-D5E3-472F-8B70-27BAD500C585}"/>
              </a:ext>
            </a:extLst>
          </p:cNvPr>
          <p:cNvGrpSpPr>
            <a:grpSpLocks/>
          </p:cNvGrpSpPr>
          <p:nvPr/>
        </p:nvGrpSpPr>
        <p:grpSpPr bwMode="auto">
          <a:xfrm>
            <a:off x="5680626" y="5418305"/>
            <a:ext cx="719138" cy="720725"/>
            <a:chOff x="4306119" y="3217309"/>
            <a:chExt cx="972535" cy="971245"/>
          </a:xfrm>
          <a:solidFill>
            <a:srgbClr val="91969A"/>
          </a:solidFill>
        </p:grpSpPr>
        <p:sp>
          <p:nvSpPr>
            <p:cNvPr id="7" name="Freeform 219">
              <a:extLst>
                <a:ext uri="{FF2B5EF4-FFF2-40B4-BE49-F238E27FC236}">
                  <a16:creationId xmlns:a16="http://schemas.microsoft.com/office/drawing/2014/main" id="{46BF44B8-1603-44B1-AC86-E6C3EDD82FED}"/>
                </a:ext>
              </a:extLst>
            </p:cNvPr>
            <p:cNvSpPr>
              <a:spLocks noEditPoints="1"/>
            </p:cNvSpPr>
            <p:nvPr/>
          </p:nvSpPr>
          <p:spPr bwMode="auto">
            <a:xfrm>
              <a:off x="4306119" y="3217309"/>
              <a:ext cx="972535" cy="971245"/>
            </a:xfrm>
            <a:custGeom>
              <a:avLst/>
              <a:gdLst>
                <a:gd name="T0" fmla="*/ 2147483646 w 700"/>
                <a:gd name="T1" fmla="*/ 2147483646 h 699"/>
                <a:gd name="T2" fmla="*/ 2147483646 w 700"/>
                <a:gd name="T3" fmla="*/ 2147483646 h 699"/>
                <a:gd name="T4" fmla="*/ 2147483646 w 700"/>
                <a:gd name="T5" fmla="*/ 2147483646 h 699"/>
                <a:gd name="T6" fmla="*/ 2147483646 w 700"/>
                <a:gd name="T7" fmla="*/ 2147483646 h 699"/>
                <a:gd name="T8" fmla="*/ 2147483646 w 700"/>
                <a:gd name="T9" fmla="*/ 2147483646 h 699"/>
                <a:gd name="T10" fmla="*/ 2147483646 w 700"/>
                <a:gd name="T11" fmla="*/ 2147483646 h 699"/>
                <a:gd name="T12" fmla="*/ 2147483646 w 700"/>
                <a:gd name="T13" fmla="*/ 2147483646 h 699"/>
                <a:gd name="T14" fmla="*/ 2147483646 w 700"/>
                <a:gd name="T15" fmla="*/ 2147483646 h 699"/>
                <a:gd name="T16" fmla="*/ 2147483646 w 700"/>
                <a:gd name="T17" fmla="*/ 2147483646 h 699"/>
                <a:gd name="T18" fmla="*/ 2147483646 w 700"/>
                <a:gd name="T19" fmla="*/ 2147483646 h 699"/>
                <a:gd name="T20" fmla="*/ 2147483646 w 700"/>
                <a:gd name="T21" fmla="*/ 2147483646 h 699"/>
                <a:gd name="T22" fmla="*/ 2147483646 w 700"/>
                <a:gd name="T23" fmla="*/ 2147483646 h 699"/>
                <a:gd name="T24" fmla="*/ 2147483646 w 700"/>
                <a:gd name="T25" fmla="*/ 2147483646 h 699"/>
                <a:gd name="T26" fmla="*/ 2147483646 w 700"/>
                <a:gd name="T27" fmla="*/ 2147483646 h 699"/>
                <a:gd name="T28" fmla="*/ 2147483646 w 700"/>
                <a:gd name="T29" fmla="*/ 2147483646 h 699"/>
                <a:gd name="T30" fmla="*/ 2147483646 w 700"/>
                <a:gd name="T31" fmla="*/ 2147483646 h 699"/>
                <a:gd name="T32" fmla="*/ 2147483646 w 700"/>
                <a:gd name="T33" fmla="*/ 0 h 699"/>
                <a:gd name="T34" fmla="*/ 2147483646 w 700"/>
                <a:gd name="T35" fmla="*/ 2147483646 h 699"/>
                <a:gd name="T36" fmla="*/ 2147483646 w 700"/>
                <a:gd name="T37" fmla="*/ 2147483646 h 699"/>
                <a:gd name="T38" fmla="*/ 2147483646 w 700"/>
                <a:gd name="T39" fmla="*/ 2147483646 h 699"/>
                <a:gd name="T40" fmla="*/ 2147483646 w 700"/>
                <a:gd name="T41" fmla="*/ 2147483646 h 699"/>
                <a:gd name="T42" fmla="*/ 2147483646 w 700"/>
                <a:gd name="T43" fmla="*/ 2147483646 h 699"/>
                <a:gd name="T44" fmla="*/ 2147483646 w 700"/>
                <a:gd name="T45" fmla="*/ 2147483646 h 699"/>
                <a:gd name="T46" fmla="*/ 2147483646 w 700"/>
                <a:gd name="T47" fmla="*/ 2147483646 h 699"/>
                <a:gd name="T48" fmla="*/ 2147483646 w 700"/>
                <a:gd name="T49" fmla="*/ 2147483646 h 699"/>
                <a:gd name="T50" fmla="*/ 2147483646 w 700"/>
                <a:gd name="T51" fmla="*/ 2147483646 h 699"/>
                <a:gd name="T52" fmla="*/ 2147483646 w 700"/>
                <a:gd name="T53" fmla="*/ 2147483646 h 699"/>
                <a:gd name="T54" fmla="*/ 2147483646 w 700"/>
                <a:gd name="T55" fmla="*/ 2147483646 h 699"/>
                <a:gd name="T56" fmla="*/ 2147483646 w 700"/>
                <a:gd name="T57" fmla="*/ 2147483646 h 699"/>
                <a:gd name="T58" fmla="*/ 2147483646 w 700"/>
                <a:gd name="T59" fmla="*/ 2147483646 h 699"/>
                <a:gd name="T60" fmla="*/ 2147483646 w 700"/>
                <a:gd name="T61" fmla="*/ 2147483646 h 699"/>
                <a:gd name="T62" fmla="*/ 2147483646 w 700"/>
                <a:gd name="T63" fmla="*/ 2147483646 h 699"/>
                <a:gd name="T64" fmla="*/ 2147483646 w 700"/>
                <a:gd name="T65" fmla="*/ 2147483646 h 699"/>
                <a:gd name="T66" fmla="*/ 2147483646 w 700"/>
                <a:gd name="T67" fmla="*/ 2147483646 h 699"/>
                <a:gd name="T68" fmla="*/ 2147483646 w 700"/>
                <a:gd name="T69" fmla="*/ 2147483646 h 699"/>
                <a:gd name="T70" fmla="*/ 2147483646 w 700"/>
                <a:gd name="T71" fmla="*/ 2147483646 h 699"/>
                <a:gd name="T72" fmla="*/ 2147483646 w 700"/>
                <a:gd name="T73" fmla="*/ 2147483646 h 699"/>
                <a:gd name="T74" fmla="*/ 2147483646 w 700"/>
                <a:gd name="T75" fmla="*/ 2147483646 h 699"/>
                <a:gd name="T76" fmla="*/ 2147483646 w 700"/>
                <a:gd name="T77" fmla="*/ 2147483646 h 699"/>
                <a:gd name="T78" fmla="*/ 2147483646 w 700"/>
                <a:gd name="T79" fmla="*/ 2147483646 h 699"/>
                <a:gd name="T80" fmla="*/ 2147483646 w 700"/>
                <a:gd name="T81" fmla="*/ 2147483646 h 699"/>
                <a:gd name="T82" fmla="*/ 2147483646 w 700"/>
                <a:gd name="T83" fmla="*/ 2147483646 h 699"/>
                <a:gd name="T84" fmla="*/ 2147483646 w 700"/>
                <a:gd name="T85" fmla="*/ 2147483646 h 699"/>
                <a:gd name="T86" fmla="*/ 2147483646 w 700"/>
                <a:gd name="T87" fmla="*/ 2147483646 h 699"/>
                <a:gd name="T88" fmla="*/ 2147483646 w 700"/>
                <a:gd name="T89" fmla="*/ 2147483646 h 699"/>
                <a:gd name="T90" fmla="*/ 2147483646 w 700"/>
                <a:gd name="T91" fmla="*/ 2147483646 h 699"/>
                <a:gd name="T92" fmla="*/ 2147483646 w 700"/>
                <a:gd name="T93" fmla="*/ 0 h 69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00"/>
                <a:gd name="T142" fmla="*/ 0 h 699"/>
                <a:gd name="T143" fmla="*/ 700 w 700"/>
                <a:gd name="T144" fmla="*/ 699 h 69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00" h="699">
                  <a:moveTo>
                    <a:pt x="339" y="154"/>
                  </a:moveTo>
                  <a:lnTo>
                    <a:pt x="300" y="161"/>
                  </a:lnTo>
                  <a:lnTo>
                    <a:pt x="263" y="174"/>
                  </a:lnTo>
                  <a:lnTo>
                    <a:pt x="232" y="194"/>
                  </a:lnTo>
                  <a:lnTo>
                    <a:pt x="204" y="220"/>
                  </a:lnTo>
                  <a:lnTo>
                    <a:pt x="182" y="250"/>
                  </a:lnTo>
                  <a:lnTo>
                    <a:pt x="165" y="284"/>
                  </a:lnTo>
                  <a:lnTo>
                    <a:pt x="156" y="321"/>
                  </a:lnTo>
                  <a:lnTo>
                    <a:pt x="155" y="360"/>
                  </a:lnTo>
                  <a:lnTo>
                    <a:pt x="161" y="399"/>
                  </a:lnTo>
                  <a:lnTo>
                    <a:pt x="174" y="436"/>
                  </a:lnTo>
                  <a:lnTo>
                    <a:pt x="194" y="467"/>
                  </a:lnTo>
                  <a:lnTo>
                    <a:pt x="220" y="495"/>
                  </a:lnTo>
                  <a:lnTo>
                    <a:pt x="250" y="517"/>
                  </a:lnTo>
                  <a:lnTo>
                    <a:pt x="284" y="534"/>
                  </a:lnTo>
                  <a:lnTo>
                    <a:pt x="321" y="543"/>
                  </a:lnTo>
                  <a:lnTo>
                    <a:pt x="360" y="545"/>
                  </a:lnTo>
                  <a:lnTo>
                    <a:pt x="400" y="538"/>
                  </a:lnTo>
                  <a:lnTo>
                    <a:pt x="436" y="525"/>
                  </a:lnTo>
                  <a:lnTo>
                    <a:pt x="468" y="505"/>
                  </a:lnTo>
                  <a:lnTo>
                    <a:pt x="495" y="479"/>
                  </a:lnTo>
                  <a:lnTo>
                    <a:pt x="517" y="449"/>
                  </a:lnTo>
                  <a:lnTo>
                    <a:pt x="534" y="415"/>
                  </a:lnTo>
                  <a:lnTo>
                    <a:pt x="544" y="378"/>
                  </a:lnTo>
                  <a:lnTo>
                    <a:pt x="545" y="339"/>
                  </a:lnTo>
                  <a:lnTo>
                    <a:pt x="538" y="300"/>
                  </a:lnTo>
                  <a:lnTo>
                    <a:pt x="525" y="263"/>
                  </a:lnTo>
                  <a:lnTo>
                    <a:pt x="506" y="232"/>
                  </a:lnTo>
                  <a:lnTo>
                    <a:pt x="479" y="204"/>
                  </a:lnTo>
                  <a:lnTo>
                    <a:pt x="449" y="182"/>
                  </a:lnTo>
                  <a:lnTo>
                    <a:pt x="415" y="165"/>
                  </a:lnTo>
                  <a:lnTo>
                    <a:pt x="379" y="156"/>
                  </a:lnTo>
                  <a:lnTo>
                    <a:pt x="339" y="154"/>
                  </a:lnTo>
                  <a:close/>
                  <a:moveTo>
                    <a:pt x="373" y="0"/>
                  </a:moveTo>
                  <a:lnTo>
                    <a:pt x="377" y="69"/>
                  </a:lnTo>
                  <a:lnTo>
                    <a:pt x="407" y="73"/>
                  </a:lnTo>
                  <a:lnTo>
                    <a:pt x="436" y="81"/>
                  </a:lnTo>
                  <a:lnTo>
                    <a:pt x="468" y="20"/>
                  </a:lnTo>
                  <a:lnTo>
                    <a:pt x="545" y="59"/>
                  </a:lnTo>
                  <a:lnTo>
                    <a:pt x="514" y="120"/>
                  </a:lnTo>
                  <a:lnTo>
                    <a:pt x="537" y="139"/>
                  </a:lnTo>
                  <a:lnTo>
                    <a:pt x="559" y="161"/>
                  </a:lnTo>
                  <a:lnTo>
                    <a:pt x="617" y="123"/>
                  </a:lnTo>
                  <a:lnTo>
                    <a:pt x="664" y="195"/>
                  </a:lnTo>
                  <a:lnTo>
                    <a:pt x="607" y="233"/>
                  </a:lnTo>
                  <a:lnTo>
                    <a:pt x="617" y="261"/>
                  </a:lnTo>
                  <a:lnTo>
                    <a:pt x="626" y="291"/>
                  </a:lnTo>
                  <a:lnTo>
                    <a:pt x="694" y="287"/>
                  </a:lnTo>
                  <a:lnTo>
                    <a:pt x="700" y="373"/>
                  </a:lnTo>
                  <a:lnTo>
                    <a:pt x="630" y="377"/>
                  </a:lnTo>
                  <a:lnTo>
                    <a:pt x="626" y="407"/>
                  </a:lnTo>
                  <a:lnTo>
                    <a:pt x="618" y="436"/>
                  </a:lnTo>
                  <a:lnTo>
                    <a:pt x="680" y="467"/>
                  </a:lnTo>
                  <a:lnTo>
                    <a:pt x="641" y="545"/>
                  </a:lnTo>
                  <a:lnTo>
                    <a:pt x="579" y="513"/>
                  </a:lnTo>
                  <a:lnTo>
                    <a:pt x="561" y="537"/>
                  </a:lnTo>
                  <a:lnTo>
                    <a:pt x="538" y="559"/>
                  </a:lnTo>
                  <a:lnTo>
                    <a:pt x="576" y="617"/>
                  </a:lnTo>
                  <a:lnTo>
                    <a:pt x="504" y="664"/>
                  </a:lnTo>
                  <a:lnTo>
                    <a:pt x="466" y="606"/>
                  </a:lnTo>
                  <a:lnTo>
                    <a:pt x="439" y="617"/>
                  </a:lnTo>
                  <a:lnTo>
                    <a:pt x="409" y="626"/>
                  </a:lnTo>
                  <a:lnTo>
                    <a:pt x="413" y="694"/>
                  </a:lnTo>
                  <a:lnTo>
                    <a:pt x="326" y="699"/>
                  </a:lnTo>
                  <a:lnTo>
                    <a:pt x="322" y="630"/>
                  </a:lnTo>
                  <a:lnTo>
                    <a:pt x="292" y="626"/>
                  </a:lnTo>
                  <a:lnTo>
                    <a:pt x="263" y="618"/>
                  </a:lnTo>
                  <a:lnTo>
                    <a:pt x="232" y="680"/>
                  </a:lnTo>
                  <a:lnTo>
                    <a:pt x="155" y="640"/>
                  </a:lnTo>
                  <a:lnTo>
                    <a:pt x="186" y="579"/>
                  </a:lnTo>
                  <a:lnTo>
                    <a:pt x="162" y="560"/>
                  </a:lnTo>
                  <a:lnTo>
                    <a:pt x="140" y="538"/>
                  </a:lnTo>
                  <a:lnTo>
                    <a:pt x="83" y="576"/>
                  </a:lnTo>
                  <a:lnTo>
                    <a:pt x="35" y="504"/>
                  </a:lnTo>
                  <a:lnTo>
                    <a:pt x="93" y="466"/>
                  </a:lnTo>
                  <a:lnTo>
                    <a:pt x="83" y="439"/>
                  </a:lnTo>
                  <a:lnTo>
                    <a:pt x="73" y="408"/>
                  </a:lnTo>
                  <a:lnTo>
                    <a:pt x="5" y="412"/>
                  </a:lnTo>
                  <a:lnTo>
                    <a:pt x="0" y="326"/>
                  </a:lnTo>
                  <a:lnTo>
                    <a:pt x="69" y="322"/>
                  </a:lnTo>
                  <a:lnTo>
                    <a:pt x="73" y="292"/>
                  </a:lnTo>
                  <a:lnTo>
                    <a:pt x="81" y="263"/>
                  </a:lnTo>
                  <a:lnTo>
                    <a:pt x="20" y="232"/>
                  </a:lnTo>
                  <a:lnTo>
                    <a:pt x="59" y="154"/>
                  </a:lnTo>
                  <a:lnTo>
                    <a:pt x="121" y="186"/>
                  </a:lnTo>
                  <a:lnTo>
                    <a:pt x="139" y="162"/>
                  </a:lnTo>
                  <a:lnTo>
                    <a:pt x="161" y="140"/>
                  </a:lnTo>
                  <a:lnTo>
                    <a:pt x="123" y="82"/>
                  </a:lnTo>
                  <a:lnTo>
                    <a:pt x="195" y="35"/>
                  </a:lnTo>
                  <a:lnTo>
                    <a:pt x="233" y="93"/>
                  </a:lnTo>
                  <a:lnTo>
                    <a:pt x="261" y="82"/>
                  </a:lnTo>
                  <a:lnTo>
                    <a:pt x="291" y="73"/>
                  </a:lnTo>
                  <a:lnTo>
                    <a:pt x="287" y="5"/>
                  </a:lnTo>
                  <a:lnTo>
                    <a:pt x="373" y="0"/>
                  </a:lnTo>
                  <a:close/>
                </a:path>
              </a:pathLst>
            </a:custGeom>
            <a:solidFill>
              <a:srgbClr val="F6AA32"/>
            </a:solidFill>
            <a:ln w="0">
              <a:noFill/>
              <a:round/>
              <a:headEnd/>
              <a:tailEnd/>
            </a:ln>
          </p:spPr>
          <p:txBody>
            <a:bodyPr/>
            <a:lstStyle/>
            <a:p>
              <a:pPr>
                <a:defRPr/>
              </a:pPr>
              <a:endParaRPr lang="es-ES" dirty="0"/>
            </a:p>
          </p:txBody>
        </p:sp>
        <p:sp>
          <p:nvSpPr>
            <p:cNvPr id="8" name="Freeform 220">
              <a:extLst>
                <a:ext uri="{FF2B5EF4-FFF2-40B4-BE49-F238E27FC236}">
                  <a16:creationId xmlns:a16="http://schemas.microsoft.com/office/drawing/2014/main" id="{60531530-B750-4A27-B1A9-71B4961A70A8}"/>
                </a:ext>
              </a:extLst>
            </p:cNvPr>
            <p:cNvSpPr>
              <a:spLocks/>
            </p:cNvSpPr>
            <p:nvPr/>
          </p:nvSpPr>
          <p:spPr bwMode="auto">
            <a:xfrm>
              <a:off x="4654147" y="3564678"/>
              <a:ext cx="276479" cy="276507"/>
            </a:xfrm>
            <a:custGeom>
              <a:avLst/>
              <a:gdLst>
                <a:gd name="T0" fmla="*/ 2147483646 w 199"/>
                <a:gd name="T1" fmla="*/ 0 h 199"/>
                <a:gd name="T2" fmla="*/ 2147483646 w 199"/>
                <a:gd name="T3" fmla="*/ 2147483646 h 199"/>
                <a:gd name="T4" fmla="*/ 2147483646 w 199"/>
                <a:gd name="T5" fmla="*/ 2147483646 h 199"/>
                <a:gd name="T6" fmla="*/ 2147483646 w 199"/>
                <a:gd name="T7" fmla="*/ 2147483646 h 199"/>
                <a:gd name="T8" fmla="*/ 2147483646 w 199"/>
                <a:gd name="T9" fmla="*/ 2147483646 h 199"/>
                <a:gd name="T10" fmla="*/ 2147483646 w 199"/>
                <a:gd name="T11" fmla="*/ 2147483646 h 199"/>
                <a:gd name="T12" fmla="*/ 2147483646 w 199"/>
                <a:gd name="T13" fmla="*/ 2147483646 h 199"/>
                <a:gd name="T14" fmla="*/ 2147483646 w 199"/>
                <a:gd name="T15" fmla="*/ 2147483646 h 199"/>
                <a:gd name="T16" fmla="*/ 2147483646 w 199"/>
                <a:gd name="T17" fmla="*/ 2147483646 h 199"/>
                <a:gd name="T18" fmla="*/ 2147483646 w 199"/>
                <a:gd name="T19" fmla="*/ 2147483646 h 199"/>
                <a:gd name="T20" fmla="*/ 2147483646 w 199"/>
                <a:gd name="T21" fmla="*/ 2147483646 h 199"/>
                <a:gd name="T22" fmla="*/ 2147483646 w 199"/>
                <a:gd name="T23" fmla="*/ 2147483646 h 199"/>
                <a:gd name="T24" fmla="*/ 2147483646 w 199"/>
                <a:gd name="T25" fmla="*/ 2147483646 h 199"/>
                <a:gd name="T26" fmla="*/ 2147483646 w 199"/>
                <a:gd name="T27" fmla="*/ 2147483646 h 199"/>
                <a:gd name="T28" fmla="*/ 2147483646 w 199"/>
                <a:gd name="T29" fmla="*/ 2147483646 h 199"/>
                <a:gd name="T30" fmla="*/ 2147483646 w 199"/>
                <a:gd name="T31" fmla="*/ 2147483646 h 199"/>
                <a:gd name="T32" fmla="*/ 2147483646 w 199"/>
                <a:gd name="T33" fmla="*/ 2147483646 h 199"/>
                <a:gd name="T34" fmla="*/ 2147483646 w 199"/>
                <a:gd name="T35" fmla="*/ 2147483646 h 199"/>
                <a:gd name="T36" fmla="*/ 0 w 199"/>
                <a:gd name="T37" fmla="*/ 2147483646 h 199"/>
                <a:gd name="T38" fmla="*/ 2147483646 w 199"/>
                <a:gd name="T39" fmla="*/ 2147483646 h 199"/>
                <a:gd name="T40" fmla="*/ 2147483646 w 199"/>
                <a:gd name="T41" fmla="*/ 2147483646 h 199"/>
                <a:gd name="T42" fmla="*/ 2147483646 w 199"/>
                <a:gd name="T43" fmla="*/ 2147483646 h 199"/>
                <a:gd name="T44" fmla="*/ 2147483646 w 199"/>
                <a:gd name="T45" fmla="*/ 2147483646 h 199"/>
                <a:gd name="T46" fmla="*/ 2147483646 w 199"/>
                <a:gd name="T47" fmla="*/ 2147483646 h 199"/>
                <a:gd name="T48" fmla="*/ 2147483646 w 199"/>
                <a:gd name="T49" fmla="*/ 0 h 19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9"/>
                <a:gd name="T76" fmla="*/ 0 h 199"/>
                <a:gd name="T77" fmla="*/ 199 w 199"/>
                <a:gd name="T78" fmla="*/ 199 h 19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9" h="199">
                  <a:moveTo>
                    <a:pt x="95" y="0"/>
                  </a:moveTo>
                  <a:lnTo>
                    <a:pt x="121" y="3"/>
                  </a:lnTo>
                  <a:lnTo>
                    <a:pt x="144" y="12"/>
                  </a:lnTo>
                  <a:lnTo>
                    <a:pt x="165" y="25"/>
                  </a:lnTo>
                  <a:lnTo>
                    <a:pt x="182" y="45"/>
                  </a:lnTo>
                  <a:lnTo>
                    <a:pt x="194" y="68"/>
                  </a:lnTo>
                  <a:lnTo>
                    <a:pt x="199" y="94"/>
                  </a:lnTo>
                  <a:lnTo>
                    <a:pt x="197" y="121"/>
                  </a:lnTo>
                  <a:lnTo>
                    <a:pt x="188" y="144"/>
                  </a:lnTo>
                  <a:lnTo>
                    <a:pt x="173" y="165"/>
                  </a:lnTo>
                  <a:lnTo>
                    <a:pt x="155" y="182"/>
                  </a:lnTo>
                  <a:lnTo>
                    <a:pt x="131" y="194"/>
                  </a:lnTo>
                  <a:lnTo>
                    <a:pt x="105" y="199"/>
                  </a:lnTo>
                  <a:lnTo>
                    <a:pt x="79" y="196"/>
                  </a:lnTo>
                  <a:lnTo>
                    <a:pt x="54" y="187"/>
                  </a:lnTo>
                  <a:lnTo>
                    <a:pt x="34" y="174"/>
                  </a:lnTo>
                  <a:lnTo>
                    <a:pt x="17" y="155"/>
                  </a:lnTo>
                  <a:lnTo>
                    <a:pt x="5" y="131"/>
                  </a:lnTo>
                  <a:lnTo>
                    <a:pt x="0" y="105"/>
                  </a:lnTo>
                  <a:lnTo>
                    <a:pt x="3" y="79"/>
                  </a:lnTo>
                  <a:lnTo>
                    <a:pt x="11" y="55"/>
                  </a:lnTo>
                  <a:lnTo>
                    <a:pt x="25" y="34"/>
                  </a:lnTo>
                  <a:lnTo>
                    <a:pt x="45" y="17"/>
                  </a:lnTo>
                  <a:lnTo>
                    <a:pt x="68" y="5"/>
                  </a:lnTo>
                  <a:lnTo>
                    <a:pt x="95" y="0"/>
                  </a:lnTo>
                  <a:close/>
                </a:path>
              </a:pathLst>
            </a:custGeom>
            <a:solidFill>
              <a:srgbClr val="F6AA32"/>
            </a:solidFill>
            <a:ln w="0">
              <a:noFill/>
              <a:round/>
              <a:headEnd/>
              <a:tailEnd/>
            </a:ln>
          </p:spPr>
          <p:txBody>
            <a:bodyPr/>
            <a:lstStyle/>
            <a:p>
              <a:pPr>
                <a:defRPr/>
              </a:pPr>
              <a:endParaRPr lang="es-ES" dirty="0"/>
            </a:p>
          </p:txBody>
        </p:sp>
      </p:grpSp>
      <p:sp>
        <p:nvSpPr>
          <p:cNvPr id="9" name="Freeform 203">
            <a:extLst>
              <a:ext uri="{FF2B5EF4-FFF2-40B4-BE49-F238E27FC236}">
                <a16:creationId xmlns:a16="http://schemas.microsoft.com/office/drawing/2014/main" id="{8C9722F6-F459-4DBD-B8EA-6E5E303CF682}"/>
              </a:ext>
            </a:extLst>
          </p:cNvPr>
          <p:cNvSpPr>
            <a:spLocks noEditPoints="1"/>
          </p:cNvSpPr>
          <p:nvPr/>
        </p:nvSpPr>
        <p:spPr bwMode="auto">
          <a:xfrm>
            <a:off x="5709889" y="3429001"/>
            <a:ext cx="720725" cy="719137"/>
          </a:xfrm>
          <a:custGeom>
            <a:avLst/>
            <a:gdLst>
              <a:gd name="T0" fmla="*/ 2147483646 w 613"/>
              <a:gd name="T1" fmla="*/ 2147483646 h 613"/>
              <a:gd name="T2" fmla="*/ 2147483646 w 613"/>
              <a:gd name="T3" fmla="*/ 2147483646 h 613"/>
              <a:gd name="T4" fmla="*/ 2147483646 w 613"/>
              <a:gd name="T5" fmla="*/ 2147483646 h 613"/>
              <a:gd name="T6" fmla="*/ 2147483646 w 613"/>
              <a:gd name="T7" fmla="*/ 2147483646 h 613"/>
              <a:gd name="T8" fmla="*/ 2147483646 w 613"/>
              <a:gd name="T9" fmla="*/ 2147483646 h 613"/>
              <a:gd name="T10" fmla="*/ 2147483646 w 613"/>
              <a:gd name="T11" fmla="*/ 2147483646 h 613"/>
              <a:gd name="T12" fmla="*/ 2147483646 w 613"/>
              <a:gd name="T13" fmla="*/ 2147483646 h 613"/>
              <a:gd name="T14" fmla="*/ 2147483646 w 613"/>
              <a:gd name="T15" fmla="*/ 2147483646 h 613"/>
              <a:gd name="T16" fmla="*/ 2147483646 w 613"/>
              <a:gd name="T17" fmla="*/ 2147483646 h 613"/>
              <a:gd name="T18" fmla="*/ 2147483646 w 613"/>
              <a:gd name="T19" fmla="*/ 2147483646 h 613"/>
              <a:gd name="T20" fmla="*/ 2147483646 w 613"/>
              <a:gd name="T21" fmla="*/ 2147483646 h 613"/>
              <a:gd name="T22" fmla="*/ 2147483646 w 613"/>
              <a:gd name="T23" fmla="*/ 2147483646 h 613"/>
              <a:gd name="T24" fmla="*/ 2147483646 w 613"/>
              <a:gd name="T25" fmla="*/ 2147483646 h 613"/>
              <a:gd name="T26" fmla="*/ 2147483646 w 613"/>
              <a:gd name="T27" fmla="*/ 2147483646 h 613"/>
              <a:gd name="T28" fmla="*/ 2147483646 w 613"/>
              <a:gd name="T29" fmla="*/ 0 h 613"/>
              <a:gd name="T30" fmla="*/ 2147483646 w 613"/>
              <a:gd name="T31" fmla="*/ 2147483646 h 613"/>
              <a:gd name="T32" fmla="*/ 2147483646 w 613"/>
              <a:gd name="T33" fmla="*/ 2147483646 h 613"/>
              <a:gd name="T34" fmla="*/ 2147483646 w 613"/>
              <a:gd name="T35" fmla="*/ 2147483646 h 613"/>
              <a:gd name="T36" fmla="*/ 2147483646 w 613"/>
              <a:gd name="T37" fmla="*/ 2147483646 h 613"/>
              <a:gd name="T38" fmla="*/ 2147483646 w 613"/>
              <a:gd name="T39" fmla="*/ 2147483646 h 613"/>
              <a:gd name="T40" fmla="*/ 2147483646 w 613"/>
              <a:gd name="T41" fmla="*/ 2147483646 h 613"/>
              <a:gd name="T42" fmla="*/ 2147483646 w 613"/>
              <a:gd name="T43" fmla="*/ 2147483646 h 613"/>
              <a:gd name="T44" fmla="*/ 2147483646 w 613"/>
              <a:gd name="T45" fmla="*/ 2147483646 h 613"/>
              <a:gd name="T46" fmla="*/ 2147483646 w 613"/>
              <a:gd name="T47" fmla="*/ 2147483646 h 613"/>
              <a:gd name="T48" fmla="*/ 2147483646 w 613"/>
              <a:gd name="T49" fmla="*/ 2147483646 h 613"/>
              <a:gd name="T50" fmla="*/ 2147483646 w 613"/>
              <a:gd name="T51" fmla="*/ 2147483646 h 613"/>
              <a:gd name="T52" fmla="*/ 2147483646 w 613"/>
              <a:gd name="T53" fmla="*/ 2147483646 h 613"/>
              <a:gd name="T54" fmla="*/ 2147483646 w 613"/>
              <a:gd name="T55" fmla="*/ 2147483646 h 613"/>
              <a:gd name="T56" fmla="*/ 2147483646 w 613"/>
              <a:gd name="T57" fmla="*/ 2147483646 h 613"/>
              <a:gd name="T58" fmla="*/ 2147483646 w 613"/>
              <a:gd name="T59" fmla="*/ 2147483646 h 613"/>
              <a:gd name="T60" fmla="*/ 2147483646 w 613"/>
              <a:gd name="T61" fmla="*/ 2147483646 h 613"/>
              <a:gd name="T62" fmla="*/ 0 w 613"/>
              <a:gd name="T63" fmla="*/ 2147483646 h 613"/>
              <a:gd name="T64" fmla="*/ 2147483646 w 613"/>
              <a:gd name="T65" fmla="*/ 2147483646 h 613"/>
              <a:gd name="T66" fmla="*/ 2147483646 w 613"/>
              <a:gd name="T67" fmla="*/ 2147483646 h 613"/>
              <a:gd name="T68" fmla="*/ 2147483646 w 613"/>
              <a:gd name="T69" fmla="*/ 2147483646 h 613"/>
              <a:gd name="T70" fmla="*/ 2147483646 w 613"/>
              <a:gd name="T71" fmla="*/ 2147483646 h 613"/>
              <a:gd name="T72" fmla="*/ 2147483646 w 613"/>
              <a:gd name="T73" fmla="*/ 2147483646 h 613"/>
              <a:gd name="T74" fmla="*/ 2147483646 w 613"/>
              <a:gd name="T75" fmla="*/ 0 h 6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13"/>
              <a:gd name="T115" fmla="*/ 0 h 613"/>
              <a:gd name="T116" fmla="*/ 613 w 613"/>
              <a:gd name="T117" fmla="*/ 613 h 6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13" h="613">
                <a:moveTo>
                  <a:pt x="306" y="176"/>
                </a:moveTo>
                <a:lnTo>
                  <a:pt x="276" y="180"/>
                </a:lnTo>
                <a:lnTo>
                  <a:pt x="248" y="189"/>
                </a:lnTo>
                <a:lnTo>
                  <a:pt x="224" y="205"/>
                </a:lnTo>
                <a:lnTo>
                  <a:pt x="203" y="225"/>
                </a:lnTo>
                <a:lnTo>
                  <a:pt x="189" y="249"/>
                </a:lnTo>
                <a:lnTo>
                  <a:pt x="178" y="277"/>
                </a:lnTo>
                <a:lnTo>
                  <a:pt x="174" y="307"/>
                </a:lnTo>
                <a:lnTo>
                  <a:pt x="178" y="337"/>
                </a:lnTo>
                <a:lnTo>
                  <a:pt x="187" y="364"/>
                </a:lnTo>
                <a:lnTo>
                  <a:pt x="203" y="389"/>
                </a:lnTo>
                <a:lnTo>
                  <a:pt x="224" y="409"/>
                </a:lnTo>
                <a:lnTo>
                  <a:pt x="248" y="425"/>
                </a:lnTo>
                <a:lnTo>
                  <a:pt x="276" y="435"/>
                </a:lnTo>
                <a:lnTo>
                  <a:pt x="306" y="439"/>
                </a:lnTo>
                <a:lnTo>
                  <a:pt x="337" y="435"/>
                </a:lnTo>
                <a:lnTo>
                  <a:pt x="364" y="425"/>
                </a:lnTo>
                <a:lnTo>
                  <a:pt x="388" y="409"/>
                </a:lnTo>
                <a:lnTo>
                  <a:pt x="409" y="389"/>
                </a:lnTo>
                <a:lnTo>
                  <a:pt x="424" y="364"/>
                </a:lnTo>
                <a:lnTo>
                  <a:pt x="434" y="337"/>
                </a:lnTo>
                <a:lnTo>
                  <a:pt x="437" y="307"/>
                </a:lnTo>
                <a:lnTo>
                  <a:pt x="434" y="277"/>
                </a:lnTo>
                <a:lnTo>
                  <a:pt x="424" y="249"/>
                </a:lnTo>
                <a:lnTo>
                  <a:pt x="409" y="225"/>
                </a:lnTo>
                <a:lnTo>
                  <a:pt x="388" y="205"/>
                </a:lnTo>
                <a:lnTo>
                  <a:pt x="364" y="189"/>
                </a:lnTo>
                <a:lnTo>
                  <a:pt x="337" y="180"/>
                </a:lnTo>
                <a:lnTo>
                  <a:pt x="306" y="176"/>
                </a:lnTo>
                <a:close/>
                <a:moveTo>
                  <a:pt x="262" y="0"/>
                </a:moveTo>
                <a:lnTo>
                  <a:pt x="350" y="0"/>
                </a:lnTo>
                <a:lnTo>
                  <a:pt x="350" y="92"/>
                </a:lnTo>
                <a:lnTo>
                  <a:pt x="379" y="100"/>
                </a:lnTo>
                <a:lnTo>
                  <a:pt x="405" y="112"/>
                </a:lnTo>
                <a:lnTo>
                  <a:pt x="430" y="126"/>
                </a:lnTo>
                <a:lnTo>
                  <a:pt x="494" y="62"/>
                </a:lnTo>
                <a:lnTo>
                  <a:pt x="555" y="123"/>
                </a:lnTo>
                <a:lnTo>
                  <a:pt x="490" y="189"/>
                </a:lnTo>
                <a:lnTo>
                  <a:pt x="508" y="224"/>
                </a:lnTo>
                <a:lnTo>
                  <a:pt x="520" y="263"/>
                </a:lnTo>
                <a:lnTo>
                  <a:pt x="613" y="263"/>
                </a:lnTo>
                <a:lnTo>
                  <a:pt x="613" y="351"/>
                </a:lnTo>
                <a:lnTo>
                  <a:pt x="520" y="351"/>
                </a:lnTo>
                <a:lnTo>
                  <a:pt x="513" y="377"/>
                </a:lnTo>
                <a:lnTo>
                  <a:pt x="503" y="404"/>
                </a:lnTo>
                <a:lnTo>
                  <a:pt x="489" y="427"/>
                </a:lnTo>
                <a:lnTo>
                  <a:pt x="555" y="495"/>
                </a:lnTo>
                <a:lnTo>
                  <a:pt x="494" y="557"/>
                </a:lnTo>
                <a:lnTo>
                  <a:pt x="427" y="490"/>
                </a:lnTo>
                <a:lnTo>
                  <a:pt x="402" y="503"/>
                </a:lnTo>
                <a:lnTo>
                  <a:pt x="377" y="514"/>
                </a:lnTo>
                <a:lnTo>
                  <a:pt x="350" y="521"/>
                </a:lnTo>
                <a:lnTo>
                  <a:pt x="350" y="613"/>
                </a:lnTo>
                <a:lnTo>
                  <a:pt x="262" y="613"/>
                </a:lnTo>
                <a:lnTo>
                  <a:pt x="262" y="521"/>
                </a:lnTo>
                <a:lnTo>
                  <a:pt x="224" y="510"/>
                </a:lnTo>
                <a:lnTo>
                  <a:pt x="189" y="491"/>
                </a:lnTo>
                <a:lnTo>
                  <a:pt x="122" y="557"/>
                </a:lnTo>
                <a:lnTo>
                  <a:pt x="60" y="495"/>
                </a:lnTo>
                <a:lnTo>
                  <a:pt x="124" y="430"/>
                </a:lnTo>
                <a:lnTo>
                  <a:pt x="110" y="406"/>
                </a:lnTo>
                <a:lnTo>
                  <a:pt x="100" y="379"/>
                </a:lnTo>
                <a:lnTo>
                  <a:pt x="92" y="351"/>
                </a:lnTo>
                <a:lnTo>
                  <a:pt x="0" y="351"/>
                </a:lnTo>
                <a:lnTo>
                  <a:pt x="0" y="263"/>
                </a:lnTo>
                <a:lnTo>
                  <a:pt x="92" y="263"/>
                </a:lnTo>
                <a:lnTo>
                  <a:pt x="98" y="236"/>
                </a:lnTo>
                <a:lnTo>
                  <a:pt x="110" y="210"/>
                </a:lnTo>
                <a:lnTo>
                  <a:pt x="123" y="186"/>
                </a:lnTo>
                <a:lnTo>
                  <a:pt x="60" y="123"/>
                </a:lnTo>
                <a:lnTo>
                  <a:pt x="122" y="62"/>
                </a:lnTo>
                <a:lnTo>
                  <a:pt x="185" y="125"/>
                </a:lnTo>
                <a:lnTo>
                  <a:pt x="210" y="110"/>
                </a:lnTo>
                <a:lnTo>
                  <a:pt x="234" y="100"/>
                </a:lnTo>
                <a:lnTo>
                  <a:pt x="262" y="92"/>
                </a:lnTo>
                <a:lnTo>
                  <a:pt x="262" y="0"/>
                </a:lnTo>
                <a:close/>
              </a:path>
            </a:pathLst>
          </a:custGeom>
          <a:solidFill>
            <a:schemeClr val="bg1">
              <a:lumMod val="50000"/>
            </a:schemeClr>
          </a:solidFill>
          <a:ln>
            <a:noFill/>
          </a:ln>
          <a:extLst/>
        </p:spPr>
        <p:txBody>
          <a:bodyPr/>
          <a:lstStyle/>
          <a:p>
            <a:endParaRPr lang="es-ES"/>
          </a:p>
        </p:txBody>
      </p:sp>
      <p:grpSp>
        <p:nvGrpSpPr>
          <p:cNvPr id="10" name="Grupo 12">
            <a:extLst>
              <a:ext uri="{FF2B5EF4-FFF2-40B4-BE49-F238E27FC236}">
                <a16:creationId xmlns:a16="http://schemas.microsoft.com/office/drawing/2014/main" id="{3F81CA83-9BFE-4D33-9159-593CFF8470A7}"/>
              </a:ext>
            </a:extLst>
          </p:cNvPr>
          <p:cNvGrpSpPr>
            <a:grpSpLocks/>
          </p:cNvGrpSpPr>
          <p:nvPr/>
        </p:nvGrpSpPr>
        <p:grpSpPr bwMode="auto">
          <a:xfrm>
            <a:off x="5677887" y="1769792"/>
            <a:ext cx="719138" cy="720725"/>
            <a:chOff x="4355976" y="5503004"/>
            <a:chExt cx="850900" cy="850900"/>
          </a:xfrm>
          <a:solidFill>
            <a:srgbClr val="89A14F"/>
          </a:solidFill>
        </p:grpSpPr>
        <p:sp>
          <p:nvSpPr>
            <p:cNvPr id="11" name="Freeform 204">
              <a:extLst>
                <a:ext uri="{FF2B5EF4-FFF2-40B4-BE49-F238E27FC236}">
                  <a16:creationId xmlns:a16="http://schemas.microsoft.com/office/drawing/2014/main" id="{E54C4DC5-AD7B-4275-8E1F-EF799DC29B6A}"/>
                </a:ext>
              </a:extLst>
            </p:cNvPr>
            <p:cNvSpPr>
              <a:spLocks noEditPoints="1"/>
            </p:cNvSpPr>
            <p:nvPr/>
          </p:nvSpPr>
          <p:spPr bwMode="auto">
            <a:xfrm>
              <a:off x="4355976" y="5503004"/>
              <a:ext cx="850900" cy="850900"/>
            </a:xfrm>
            <a:custGeom>
              <a:avLst/>
              <a:gdLst>
                <a:gd name="T0" fmla="*/ 277 w 613"/>
                <a:gd name="T1" fmla="*/ 178 h 613"/>
                <a:gd name="T2" fmla="*/ 224 w 613"/>
                <a:gd name="T3" fmla="*/ 204 h 613"/>
                <a:gd name="T4" fmla="*/ 189 w 613"/>
                <a:gd name="T5" fmla="*/ 249 h 613"/>
                <a:gd name="T6" fmla="*/ 176 w 613"/>
                <a:gd name="T7" fmla="*/ 307 h 613"/>
                <a:gd name="T8" fmla="*/ 189 w 613"/>
                <a:gd name="T9" fmla="*/ 364 h 613"/>
                <a:gd name="T10" fmla="*/ 224 w 613"/>
                <a:gd name="T11" fmla="*/ 409 h 613"/>
                <a:gd name="T12" fmla="*/ 277 w 613"/>
                <a:gd name="T13" fmla="*/ 434 h 613"/>
                <a:gd name="T14" fmla="*/ 337 w 613"/>
                <a:gd name="T15" fmla="*/ 434 h 613"/>
                <a:gd name="T16" fmla="*/ 389 w 613"/>
                <a:gd name="T17" fmla="*/ 409 h 613"/>
                <a:gd name="T18" fmla="*/ 425 w 613"/>
                <a:gd name="T19" fmla="*/ 364 h 613"/>
                <a:gd name="T20" fmla="*/ 438 w 613"/>
                <a:gd name="T21" fmla="*/ 307 h 613"/>
                <a:gd name="T22" fmla="*/ 425 w 613"/>
                <a:gd name="T23" fmla="*/ 249 h 613"/>
                <a:gd name="T24" fmla="*/ 389 w 613"/>
                <a:gd name="T25" fmla="*/ 204 h 613"/>
                <a:gd name="T26" fmla="*/ 337 w 613"/>
                <a:gd name="T27" fmla="*/ 178 h 613"/>
                <a:gd name="T28" fmla="*/ 262 w 613"/>
                <a:gd name="T29" fmla="*/ 0 h 613"/>
                <a:gd name="T30" fmla="*/ 350 w 613"/>
                <a:gd name="T31" fmla="*/ 92 h 613"/>
                <a:gd name="T32" fmla="*/ 405 w 613"/>
                <a:gd name="T33" fmla="*/ 111 h 613"/>
                <a:gd name="T34" fmla="*/ 494 w 613"/>
                <a:gd name="T35" fmla="*/ 60 h 613"/>
                <a:gd name="T36" fmla="*/ 491 w 613"/>
                <a:gd name="T37" fmla="*/ 189 h 613"/>
                <a:gd name="T38" fmla="*/ 521 w 613"/>
                <a:gd name="T39" fmla="*/ 262 h 613"/>
                <a:gd name="T40" fmla="*/ 613 w 613"/>
                <a:gd name="T41" fmla="*/ 350 h 613"/>
                <a:gd name="T42" fmla="*/ 514 w 613"/>
                <a:gd name="T43" fmla="*/ 377 h 613"/>
                <a:gd name="T44" fmla="*/ 489 w 613"/>
                <a:gd name="T45" fmla="*/ 427 h 613"/>
                <a:gd name="T46" fmla="*/ 494 w 613"/>
                <a:gd name="T47" fmla="*/ 557 h 613"/>
                <a:gd name="T48" fmla="*/ 404 w 613"/>
                <a:gd name="T49" fmla="*/ 503 h 613"/>
                <a:gd name="T50" fmla="*/ 350 w 613"/>
                <a:gd name="T51" fmla="*/ 521 h 613"/>
                <a:gd name="T52" fmla="*/ 262 w 613"/>
                <a:gd name="T53" fmla="*/ 613 h 613"/>
                <a:gd name="T54" fmla="*/ 224 w 613"/>
                <a:gd name="T55" fmla="*/ 510 h 613"/>
                <a:gd name="T56" fmla="*/ 123 w 613"/>
                <a:gd name="T57" fmla="*/ 557 h 613"/>
                <a:gd name="T58" fmla="*/ 126 w 613"/>
                <a:gd name="T59" fmla="*/ 430 h 613"/>
                <a:gd name="T60" fmla="*/ 100 w 613"/>
                <a:gd name="T61" fmla="*/ 379 h 613"/>
                <a:gd name="T62" fmla="*/ 0 w 613"/>
                <a:gd name="T63" fmla="*/ 350 h 613"/>
                <a:gd name="T64" fmla="*/ 92 w 613"/>
                <a:gd name="T65" fmla="*/ 262 h 613"/>
                <a:gd name="T66" fmla="*/ 110 w 613"/>
                <a:gd name="T67" fmla="*/ 210 h 613"/>
                <a:gd name="T68" fmla="*/ 60 w 613"/>
                <a:gd name="T69" fmla="*/ 123 h 613"/>
                <a:gd name="T70" fmla="*/ 186 w 613"/>
                <a:gd name="T71" fmla="*/ 123 h 613"/>
                <a:gd name="T72" fmla="*/ 236 w 613"/>
                <a:gd name="T73" fmla="*/ 100 h 613"/>
                <a:gd name="T74" fmla="*/ 262 w 613"/>
                <a:gd name="T75" fmla="*/ 0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3" h="613">
                  <a:moveTo>
                    <a:pt x="307" y="174"/>
                  </a:moveTo>
                  <a:lnTo>
                    <a:pt x="277" y="178"/>
                  </a:lnTo>
                  <a:lnTo>
                    <a:pt x="249" y="189"/>
                  </a:lnTo>
                  <a:lnTo>
                    <a:pt x="224" y="204"/>
                  </a:lnTo>
                  <a:lnTo>
                    <a:pt x="205" y="224"/>
                  </a:lnTo>
                  <a:lnTo>
                    <a:pt x="189" y="249"/>
                  </a:lnTo>
                  <a:lnTo>
                    <a:pt x="178" y="276"/>
                  </a:lnTo>
                  <a:lnTo>
                    <a:pt x="176" y="307"/>
                  </a:lnTo>
                  <a:lnTo>
                    <a:pt x="178" y="337"/>
                  </a:lnTo>
                  <a:lnTo>
                    <a:pt x="189" y="364"/>
                  </a:lnTo>
                  <a:lnTo>
                    <a:pt x="205" y="389"/>
                  </a:lnTo>
                  <a:lnTo>
                    <a:pt x="224" y="409"/>
                  </a:lnTo>
                  <a:lnTo>
                    <a:pt x="249" y="424"/>
                  </a:lnTo>
                  <a:lnTo>
                    <a:pt x="277" y="434"/>
                  </a:lnTo>
                  <a:lnTo>
                    <a:pt x="307" y="438"/>
                  </a:lnTo>
                  <a:lnTo>
                    <a:pt x="337" y="434"/>
                  </a:lnTo>
                  <a:lnTo>
                    <a:pt x="364" y="424"/>
                  </a:lnTo>
                  <a:lnTo>
                    <a:pt x="389" y="409"/>
                  </a:lnTo>
                  <a:lnTo>
                    <a:pt x="409" y="389"/>
                  </a:lnTo>
                  <a:lnTo>
                    <a:pt x="425" y="364"/>
                  </a:lnTo>
                  <a:lnTo>
                    <a:pt x="435" y="337"/>
                  </a:lnTo>
                  <a:lnTo>
                    <a:pt x="438" y="307"/>
                  </a:lnTo>
                  <a:lnTo>
                    <a:pt x="435" y="276"/>
                  </a:lnTo>
                  <a:lnTo>
                    <a:pt x="425" y="249"/>
                  </a:lnTo>
                  <a:lnTo>
                    <a:pt x="409" y="224"/>
                  </a:lnTo>
                  <a:lnTo>
                    <a:pt x="389" y="204"/>
                  </a:lnTo>
                  <a:lnTo>
                    <a:pt x="364" y="189"/>
                  </a:lnTo>
                  <a:lnTo>
                    <a:pt x="337" y="178"/>
                  </a:lnTo>
                  <a:lnTo>
                    <a:pt x="307" y="174"/>
                  </a:lnTo>
                  <a:close/>
                  <a:moveTo>
                    <a:pt x="262" y="0"/>
                  </a:moveTo>
                  <a:lnTo>
                    <a:pt x="350" y="0"/>
                  </a:lnTo>
                  <a:lnTo>
                    <a:pt x="350" y="92"/>
                  </a:lnTo>
                  <a:lnTo>
                    <a:pt x="379" y="100"/>
                  </a:lnTo>
                  <a:lnTo>
                    <a:pt x="405" y="111"/>
                  </a:lnTo>
                  <a:lnTo>
                    <a:pt x="430" y="126"/>
                  </a:lnTo>
                  <a:lnTo>
                    <a:pt x="494" y="60"/>
                  </a:lnTo>
                  <a:lnTo>
                    <a:pt x="557" y="123"/>
                  </a:lnTo>
                  <a:lnTo>
                    <a:pt x="491" y="189"/>
                  </a:lnTo>
                  <a:lnTo>
                    <a:pt x="510" y="224"/>
                  </a:lnTo>
                  <a:lnTo>
                    <a:pt x="521" y="262"/>
                  </a:lnTo>
                  <a:lnTo>
                    <a:pt x="613" y="262"/>
                  </a:lnTo>
                  <a:lnTo>
                    <a:pt x="613" y="350"/>
                  </a:lnTo>
                  <a:lnTo>
                    <a:pt x="521" y="350"/>
                  </a:lnTo>
                  <a:lnTo>
                    <a:pt x="514" y="377"/>
                  </a:lnTo>
                  <a:lnTo>
                    <a:pt x="503" y="404"/>
                  </a:lnTo>
                  <a:lnTo>
                    <a:pt x="489" y="427"/>
                  </a:lnTo>
                  <a:lnTo>
                    <a:pt x="557" y="494"/>
                  </a:lnTo>
                  <a:lnTo>
                    <a:pt x="494" y="557"/>
                  </a:lnTo>
                  <a:lnTo>
                    <a:pt x="427" y="489"/>
                  </a:lnTo>
                  <a:lnTo>
                    <a:pt x="404" y="503"/>
                  </a:lnTo>
                  <a:lnTo>
                    <a:pt x="377" y="514"/>
                  </a:lnTo>
                  <a:lnTo>
                    <a:pt x="350" y="521"/>
                  </a:lnTo>
                  <a:lnTo>
                    <a:pt x="350" y="613"/>
                  </a:lnTo>
                  <a:lnTo>
                    <a:pt x="262" y="613"/>
                  </a:lnTo>
                  <a:lnTo>
                    <a:pt x="262" y="521"/>
                  </a:lnTo>
                  <a:lnTo>
                    <a:pt x="224" y="510"/>
                  </a:lnTo>
                  <a:lnTo>
                    <a:pt x="189" y="491"/>
                  </a:lnTo>
                  <a:lnTo>
                    <a:pt x="123" y="557"/>
                  </a:lnTo>
                  <a:lnTo>
                    <a:pt x="60" y="494"/>
                  </a:lnTo>
                  <a:lnTo>
                    <a:pt x="126" y="430"/>
                  </a:lnTo>
                  <a:lnTo>
                    <a:pt x="112" y="405"/>
                  </a:lnTo>
                  <a:lnTo>
                    <a:pt x="100" y="379"/>
                  </a:lnTo>
                  <a:lnTo>
                    <a:pt x="92" y="350"/>
                  </a:lnTo>
                  <a:lnTo>
                    <a:pt x="0" y="350"/>
                  </a:lnTo>
                  <a:lnTo>
                    <a:pt x="0" y="262"/>
                  </a:lnTo>
                  <a:lnTo>
                    <a:pt x="92" y="262"/>
                  </a:lnTo>
                  <a:lnTo>
                    <a:pt x="100" y="236"/>
                  </a:lnTo>
                  <a:lnTo>
                    <a:pt x="110" y="210"/>
                  </a:lnTo>
                  <a:lnTo>
                    <a:pt x="123" y="186"/>
                  </a:lnTo>
                  <a:lnTo>
                    <a:pt x="60" y="123"/>
                  </a:lnTo>
                  <a:lnTo>
                    <a:pt x="123" y="60"/>
                  </a:lnTo>
                  <a:lnTo>
                    <a:pt x="186" y="123"/>
                  </a:lnTo>
                  <a:lnTo>
                    <a:pt x="210" y="110"/>
                  </a:lnTo>
                  <a:lnTo>
                    <a:pt x="236" y="100"/>
                  </a:lnTo>
                  <a:lnTo>
                    <a:pt x="262" y="92"/>
                  </a:lnTo>
                  <a:lnTo>
                    <a:pt x="262"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dirty="0">
                <a:latin typeface="Roboto Thin"/>
                <a:cs typeface="+mn-cs"/>
              </a:endParaRPr>
            </a:p>
          </p:txBody>
        </p:sp>
        <p:sp>
          <p:nvSpPr>
            <p:cNvPr id="12" name="Freeform 220">
              <a:extLst>
                <a:ext uri="{FF2B5EF4-FFF2-40B4-BE49-F238E27FC236}">
                  <a16:creationId xmlns:a16="http://schemas.microsoft.com/office/drawing/2014/main" id="{CFF493CC-B75B-4E52-BB87-76D5CBCEB650}"/>
                </a:ext>
              </a:extLst>
            </p:cNvPr>
            <p:cNvSpPr>
              <a:spLocks/>
            </p:cNvSpPr>
            <p:nvPr/>
          </p:nvSpPr>
          <p:spPr bwMode="auto">
            <a:xfrm>
              <a:off x="4571989" y="5729785"/>
              <a:ext cx="432024" cy="432948"/>
            </a:xfrm>
            <a:custGeom>
              <a:avLst/>
              <a:gdLst>
                <a:gd name="T0" fmla="*/ 2147483646 w 199"/>
                <a:gd name="T1" fmla="*/ 0 h 199"/>
                <a:gd name="T2" fmla="*/ 2147483646 w 199"/>
                <a:gd name="T3" fmla="*/ 2147483646 h 199"/>
                <a:gd name="T4" fmla="*/ 2147483646 w 199"/>
                <a:gd name="T5" fmla="*/ 2147483646 h 199"/>
                <a:gd name="T6" fmla="*/ 2147483646 w 199"/>
                <a:gd name="T7" fmla="*/ 2147483646 h 199"/>
                <a:gd name="T8" fmla="*/ 2147483646 w 199"/>
                <a:gd name="T9" fmla="*/ 2147483646 h 199"/>
                <a:gd name="T10" fmla="*/ 2147483646 w 199"/>
                <a:gd name="T11" fmla="*/ 2147483646 h 199"/>
                <a:gd name="T12" fmla="*/ 2147483646 w 199"/>
                <a:gd name="T13" fmla="*/ 2147483646 h 199"/>
                <a:gd name="T14" fmla="*/ 2147483646 w 199"/>
                <a:gd name="T15" fmla="*/ 2147483646 h 199"/>
                <a:gd name="T16" fmla="*/ 2147483646 w 199"/>
                <a:gd name="T17" fmla="*/ 2147483646 h 199"/>
                <a:gd name="T18" fmla="*/ 2147483646 w 199"/>
                <a:gd name="T19" fmla="*/ 2147483646 h 199"/>
                <a:gd name="T20" fmla="*/ 2147483646 w 199"/>
                <a:gd name="T21" fmla="*/ 2147483646 h 199"/>
                <a:gd name="T22" fmla="*/ 2147483646 w 199"/>
                <a:gd name="T23" fmla="*/ 2147483646 h 199"/>
                <a:gd name="T24" fmla="*/ 2147483646 w 199"/>
                <a:gd name="T25" fmla="*/ 2147483646 h 199"/>
                <a:gd name="T26" fmla="*/ 2147483646 w 199"/>
                <a:gd name="T27" fmla="*/ 2147483646 h 199"/>
                <a:gd name="T28" fmla="*/ 2147483646 w 199"/>
                <a:gd name="T29" fmla="*/ 2147483646 h 199"/>
                <a:gd name="T30" fmla="*/ 2147483646 w 199"/>
                <a:gd name="T31" fmla="*/ 2147483646 h 199"/>
                <a:gd name="T32" fmla="*/ 2147483646 w 199"/>
                <a:gd name="T33" fmla="*/ 2147483646 h 199"/>
                <a:gd name="T34" fmla="*/ 2147483646 w 199"/>
                <a:gd name="T35" fmla="*/ 2147483646 h 199"/>
                <a:gd name="T36" fmla="*/ 0 w 199"/>
                <a:gd name="T37" fmla="*/ 2147483646 h 199"/>
                <a:gd name="T38" fmla="*/ 2147483646 w 199"/>
                <a:gd name="T39" fmla="*/ 2147483646 h 199"/>
                <a:gd name="T40" fmla="*/ 2147483646 w 199"/>
                <a:gd name="T41" fmla="*/ 2147483646 h 199"/>
                <a:gd name="T42" fmla="*/ 2147483646 w 199"/>
                <a:gd name="T43" fmla="*/ 2147483646 h 199"/>
                <a:gd name="T44" fmla="*/ 2147483646 w 199"/>
                <a:gd name="T45" fmla="*/ 2147483646 h 199"/>
                <a:gd name="T46" fmla="*/ 2147483646 w 199"/>
                <a:gd name="T47" fmla="*/ 2147483646 h 199"/>
                <a:gd name="T48" fmla="*/ 2147483646 w 199"/>
                <a:gd name="T49" fmla="*/ 0 h 19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9"/>
                <a:gd name="T76" fmla="*/ 0 h 199"/>
                <a:gd name="T77" fmla="*/ 199 w 199"/>
                <a:gd name="T78" fmla="*/ 199 h 19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9" h="199">
                  <a:moveTo>
                    <a:pt x="95" y="0"/>
                  </a:moveTo>
                  <a:lnTo>
                    <a:pt x="121" y="3"/>
                  </a:lnTo>
                  <a:lnTo>
                    <a:pt x="144" y="12"/>
                  </a:lnTo>
                  <a:lnTo>
                    <a:pt x="165" y="25"/>
                  </a:lnTo>
                  <a:lnTo>
                    <a:pt x="182" y="45"/>
                  </a:lnTo>
                  <a:lnTo>
                    <a:pt x="194" y="68"/>
                  </a:lnTo>
                  <a:lnTo>
                    <a:pt x="199" y="94"/>
                  </a:lnTo>
                  <a:lnTo>
                    <a:pt x="197" y="121"/>
                  </a:lnTo>
                  <a:lnTo>
                    <a:pt x="188" y="144"/>
                  </a:lnTo>
                  <a:lnTo>
                    <a:pt x="173" y="165"/>
                  </a:lnTo>
                  <a:lnTo>
                    <a:pt x="155" y="182"/>
                  </a:lnTo>
                  <a:lnTo>
                    <a:pt x="131" y="194"/>
                  </a:lnTo>
                  <a:lnTo>
                    <a:pt x="105" y="199"/>
                  </a:lnTo>
                  <a:lnTo>
                    <a:pt x="79" y="196"/>
                  </a:lnTo>
                  <a:lnTo>
                    <a:pt x="54" y="187"/>
                  </a:lnTo>
                  <a:lnTo>
                    <a:pt x="34" y="174"/>
                  </a:lnTo>
                  <a:lnTo>
                    <a:pt x="17" y="155"/>
                  </a:lnTo>
                  <a:lnTo>
                    <a:pt x="5" y="131"/>
                  </a:lnTo>
                  <a:lnTo>
                    <a:pt x="0" y="105"/>
                  </a:lnTo>
                  <a:lnTo>
                    <a:pt x="3" y="79"/>
                  </a:lnTo>
                  <a:lnTo>
                    <a:pt x="11" y="55"/>
                  </a:lnTo>
                  <a:lnTo>
                    <a:pt x="25" y="34"/>
                  </a:lnTo>
                  <a:lnTo>
                    <a:pt x="45" y="17"/>
                  </a:lnTo>
                  <a:lnTo>
                    <a:pt x="68" y="5"/>
                  </a:lnTo>
                  <a:lnTo>
                    <a:pt x="95" y="0"/>
                  </a:lnTo>
                  <a:close/>
                </a:path>
              </a:pathLst>
            </a:custGeom>
            <a:grpFill/>
            <a:ln>
              <a:noFill/>
            </a:ln>
          </p:spPr>
          <p:txBody>
            <a:bodyPr/>
            <a:lstStyle/>
            <a:p>
              <a:pPr>
                <a:defRPr/>
              </a:pPr>
              <a:endParaRPr lang="es-ES" dirty="0">
                <a:latin typeface="Roboto Thin"/>
              </a:endParaRPr>
            </a:p>
          </p:txBody>
        </p:sp>
      </p:grpSp>
      <p:grpSp>
        <p:nvGrpSpPr>
          <p:cNvPr id="13" name="Grupo 62502">
            <a:extLst>
              <a:ext uri="{FF2B5EF4-FFF2-40B4-BE49-F238E27FC236}">
                <a16:creationId xmlns:a16="http://schemas.microsoft.com/office/drawing/2014/main" id="{776FDEF5-2F70-4972-BE1B-76E4678BA2AD}"/>
              </a:ext>
            </a:extLst>
          </p:cNvPr>
          <p:cNvGrpSpPr>
            <a:grpSpLocks/>
          </p:cNvGrpSpPr>
          <p:nvPr/>
        </p:nvGrpSpPr>
        <p:grpSpPr bwMode="auto">
          <a:xfrm>
            <a:off x="1486313" y="1237474"/>
            <a:ext cx="3016250" cy="4868863"/>
            <a:chOff x="539750" y="1583797"/>
            <a:chExt cx="3016250" cy="4869391"/>
          </a:xfrm>
        </p:grpSpPr>
        <p:grpSp>
          <p:nvGrpSpPr>
            <p:cNvPr id="14" name="Grupo 62500">
              <a:extLst>
                <a:ext uri="{FF2B5EF4-FFF2-40B4-BE49-F238E27FC236}">
                  <a16:creationId xmlns:a16="http://schemas.microsoft.com/office/drawing/2014/main" id="{A897D448-357D-490A-B95E-754A8DBDCB8E}"/>
                </a:ext>
              </a:extLst>
            </p:cNvPr>
            <p:cNvGrpSpPr>
              <a:grpSpLocks/>
            </p:cNvGrpSpPr>
            <p:nvPr/>
          </p:nvGrpSpPr>
          <p:grpSpPr bwMode="auto">
            <a:xfrm>
              <a:off x="539750" y="1808163"/>
              <a:ext cx="3016250" cy="4645025"/>
              <a:chOff x="539750" y="1808163"/>
              <a:chExt cx="3016250" cy="4645025"/>
            </a:xfrm>
          </p:grpSpPr>
          <p:grpSp>
            <p:nvGrpSpPr>
              <p:cNvPr id="21" name="51 Grupo">
                <a:extLst>
                  <a:ext uri="{FF2B5EF4-FFF2-40B4-BE49-F238E27FC236}">
                    <a16:creationId xmlns:a16="http://schemas.microsoft.com/office/drawing/2014/main" id="{D3F92A4D-307E-468F-B78B-363F24315274}"/>
                  </a:ext>
                </a:extLst>
              </p:cNvPr>
              <p:cNvGrpSpPr>
                <a:grpSpLocks/>
              </p:cNvGrpSpPr>
              <p:nvPr/>
            </p:nvGrpSpPr>
            <p:grpSpPr bwMode="auto">
              <a:xfrm>
                <a:off x="539750" y="1808163"/>
                <a:ext cx="3016250" cy="4645025"/>
                <a:chOff x="642910" y="642922"/>
                <a:chExt cx="3016250" cy="4645025"/>
              </a:xfrm>
            </p:grpSpPr>
            <p:sp>
              <p:nvSpPr>
                <p:cNvPr id="30" name="Freeform 187">
                  <a:extLst>
                    <a:ext uri="{FF2B5EF4-FFF2-40B4-BE49-F238E27FC236}">
                      <a16:creationId xmlns:a16="http://schemas.microsoft.com/office/drawing/2014/main" id="{A83776C7-B126-4658-A1AB-52A9EB404047}"/>
                    </a:ext>
                  </a:extLst>
                </p:cNvPr>
                <p:cNvSpPr>
                  <a:spLocks/>
                </p:cNvSpPr>
                <p:nvPr/>
              </p:nvSpPr>
              <p:spPr bwMode="auto">
                <a:xfrm>
                  <a:off x="1519210" y="4141648"/>
                  <a:ext cx="1220788" cy="209573"/>
                </a:xfrm>
                <a:custGeom>
                  <a:avLst/>
                  <a:gdLst>
                    <a:gd name="T0" fmla="*/ 75 w 878"/>
                    <a:gd name="T1" fmla="*/ 0 h 151"/>
                    <a:gd name="T2" fmla="*/ 802 w 878"/>
                    <a:gd name="T3" fmla="*/ 0 h 151"/>
                    <a:gd name="T4" fmla="*/ 826 w 878"/>
                    <a:gd name="T5" fmla="*/ 4 h 151"/>
                    <a:gd name="T6" fmla="*/ 847 w 878"/>
                    <a:gd name="T7" fmla="*/ 15 h 151"/>
                    <a:gd name="T8" fmla="*/ 864 w 878"/>
                    <a:gd name="T9" fmla="*/ 30 h 151"/>
                    <a:gd name="T10" fmla="*/ 874 w 878"/>
                    <a:gd name="T11" fmla="*/ 51 h 151"/>
                    <a:gd name="T12" fmla="*/ 878 w 878"/>
                    <a:gd name="T13" fmla="*/ 75 h 151"/>
                    <a:gd name="T14" fmla="*/ 874 w 878"/>
                    <a:gd name="T15" fmla="*/ 100 h 151"/>
                    <a:gd name="T16" fmla="*/ 864 w 878"/>
                    <a:gd name="T17" fmla="*/ 119 h 151"/>
                    <a:gd name="T18" fmla="*/ 847 w 878"/>
                    <a:gd name="T19" fmla="*/ 136 h 151"/>
                    <a:gd name="T20" fmla="*/ 826 w 878"/>
                    <a:gd name="T21" fmla="*/ 147 h 151"/>
                    <a:gd name="T22" fmla="*/ 802 w 878"/>
                    <a:gd name="T23" fmla="*/ 151 h 151"/>
                    <a:gd name="T24" fmla="*/ 75 w 878"/>
                    <a:gd name="T25" fmla="*/ 151 h 151"/>
                    <a:gd name="T26" fmla="*/ 52 w 878"/>
                    <a:gd name="T27" fmla="*/ 147 h 151"/>
                    <a:gd name="T28" fmla="*/ 31 w 878"/>
                    <a:gd name="T29" fmla="*/ 136 h 151"/>
                    <a:gd name="T30" fmla="*/ 15 w 878"/>
                    <a:gd name="T31" fmla="*/ 119 h 151"/>
                    <a:gd name="T32" fmla="*/ 4 w 878"/>
                    <a:gd name="T33" fmla="*/ 100 h 151"/>
                    <a:gd name="T34" fmla="*/ 0 w 878"/>
                    <a:gd name="T35" fmla="*/ 75 h 151"/>
                    <a:gd name="T36" fmla="*/ 4 w 878"/>
                    <a:gd name="T37" fmla="*/ 51 h 151"/>
                    <a:gd name="T38" fmla="*/ 15 w 878"/>
                    <a:gd name="T39" fmla="*/ 30 h 151"/>
                    <a:gd name="T40" fmla="*/ 31 w 878"/>
                    <a:gd name="T41" fmla="*/ 15 h 151"/>
                    <a:gd name="T42" fmla="*/ 52 w 878"/>
                    <a:gd name="T43" fmla="*/ 4 h 151"/>
                    <a:gd name="T44" fmla="*/ 75 w 878"/>
                    <a:gd name="T4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8" h="151">
                      <a:moveTo>
                        <a:pt x="75" y="0"/>
                      </a:moveTo>
                      <a:lnTo>
                        <a:pt x="802" y="0"/>
                      </a:lnTo>
                      <a:lnTo>
                        <a:pt x="826" y="4"/>
                      </a:lnTo>
                      <a:lnTo>
                        <a:pt x="847" y="15"/>
                      </a:lnTo>
                      <a:lnTo>
                        <a:pt x="864" y="30"/>
                      </a:lnTo>
                      <a:lnTo>
                        <a:pt x="874" y="51"/>
                      </a:lnTo>
                      <a:lnTo>
                        <a:pt x="878" y="75"/>
                      </a:lnTo>
                      <a:lnTo>
                        <a:pt x="874" y="100"/>
                      </a:lnTo>
                      <a:lnTo>
                        <a:pt x="864" y="119"/>
                      </a:lnTo>
                      <a:lnTo>
                        <a:pt x="847" y="136"/>
                      </a:lnTo>
                      <a:lnTo>
                        <a:pt x="826" y="147"/>
                      </a:lnTo>
                      <a:lnTo>
                        <a:pt x="802" y="151"/>
                      </a:lnTo>
                      <a:lnTo>
                        <a:pt x="75" y="151"/>
                      </a:lnTo>
                      <a:lnTo>
                        <a:pt x="52" y="147"/>
                      </a:lnTo>
                      <a:lnTo>
                        <a:pt x="31" y="136"/>
                      </a:lnTo>
                      <a:lnTo>
                        <a:pt x="15" y="119"/>
                      </a:lnTo>
                      <a:lnTo>
                        <a:pt x="4" y="100"/>
                      </a:lnTo>
                      <a:lnTo>
                        <a:pt x="0" y="75"/>
                      </a:lnTo>
                      <a:lnTo>
                        <a:pt x="4" y="51"/>
                      </a:lnTo>
                      <a:lnTo>
                        <a:pt x="15" y="30"/>
                      </a:lnTo>
                      <a:lnTo>
                        <a:pt x="31" y="15"/>
                      </a:lnTo>
                      <a:lnTo>
                        <a:pt x="52" y="4"/>
                      </a:lnTo>
                      <a:lnTo>
                        <a:pt x="75" y="0"/>
                      </a:lnTo>
                      <a:close/>
                    </a:path>
                  </a:pathLst>
                </a:custGeom>
                <a:solidFill>
                  <a:schemeClr val="bg1">
                    <a:lumMod val="85000"/>
                  </a:schemeClr>
                </a:solidFill>
                <a:ln w="0">
                  <a:noFill/>
                  <a:prstDash val="solid"/>
                  <a:round/>
                  <a:headEnd/>
                  <a:tailEnd/>
                </a:ln>
              </p:spPr>
              <p:txBody>
                <a:bodyPr/>
                <a:lstStyle/>
                <a:p>
                  <a:pPr eaLnBrk="1" fontAlgn="auto" hangingPunct="1">
                    <a:spcBef>
                      <a:spcPts val="0"/>
                    </a:spcBef>
                    <a:spcAft>
                      <a:spcPts val="0"/>
                    </a:spcAft>
                    <a:defRPr/>
                  </a:pPr>
                  <a:endParaRPr lang="en-US" dirty="0">
                    <a:latin typeface="+mn-lt"/>
                    <a:cs typeface="+mn-cs"/>
                  </a:endParaRPr>
                </a:p>
              </p:txBody>
            </p:sp>
            <p:sp>
              <p:nvSpPr>
                <p:cNvPr id="31" name="Freeform 188">
                  <a:extLst>
                    <a:ext uri="{FF2B5EF4-FFF2-40B4-BE49-F238E27FC236}">
                      <a16:creationId xmlns:a16="http://schemas.microsoft.com/office/drawing/2014/main" id="{87FBF9D0-38DF-40DA-BA6B-5299AB108778}"/>
                    </a:ext>
                  </a:extLst>
                </p:cNvPr>
                <p:cNvSpPr>
                  <a:spLocks/>
                </p:cNvSpPr>
                <p:nvPr/>
              </p:nvSpPr>
              <p:spPr bwMode="auto">
                <a:xfrm>
                  <a:off x="1519210" y="4411552"/>
                  <a:ext cx="1220788" cy="211160"/>
                </a:xfrm>
                <a:custGeom>
                  <a:avLst/>
                  <a:gdLst>
                    <a:gd name="T0" fmla="*/ 75 w 878"/>
                    <a:gd name="T1" fmla="*/ 0 h 152"/>
                    <a:gd name="T2" fmla="*/ 802 w 878"/>
                    <a:gd name="T3" fmla="*/ 0 h 152"/>
                    <a:gd name="T4" fmla="*/ 826 w 878"/>
                    <a:gd name="T5" fmla="*/ 4 h 152"/>
                    <a:gd name="T6" fmla="*/ 847 w 878"/>
                    <a:gd name="T7" fmla="*/ 16 h 152"/>
                    <a:gd name="T8" fmla="*/ 864 w 878"/>
                    <a:gd name="T9" fmla="*/ 31 h 152"/>
                    <a:gd name="T10" fmla="*/ 874 w 878"/>
                    <a:gd name="T11" fmla="*/ 52 h 152"/>
                    <a:gd name="T12" fmla="*/ 878 w 878"/>
                    <a:gd name="T13" fmla="*/ 76 h 152"/>
                    <a:gd name="T14" fmla="*/ 874 w 878"/>
                    <a:gd name="T15" fmla="*/ 100 h 152"/>
                    <a:gd name="T16" fmla="*/ 864 w 878"/>
                    <a:gd name="T17" fmla="*/ 121 h 152"/>
                    <a:gd name="T18" fmla="*/ 847 w 878"/>
                    <a:gd name="T19" fmla="*/ 138 h 152"/>
                    <a:gd name="T20" fmla="*/ 826 w 878"/>
                    <a:gd name="T21" fmla="*/ 148 h 152"/>
                    <a:gd name="T22" fmla="*/ 802 w 878"/>
                    <a:gd name="T23" fmla="*/ 152 h 152"/>
                    <a:gd name="T24" fmla="*/ 75 w 878"/>
                    <a:gd name="T25" fmla="*/ 152 h 152"/>
                    <a:gd name="T26" fmla="*/ 52 w 878"/>
                    <a:gd name="T27" fmla="*/ 148 h 152"/>
                    <a:gd name="T28" fmla="*/ 31 w 878"/>
                    <a:gd name="T29" fmla="*/ 138 h 152"/>
                    <a:gd name="T30" fmla="*/ 15 w 878"/>
                    <a:gd name="T31" fmla="*/ 121 h 152"/>
                    <a:gd name="T32" fmla="*/ 4 w 878"/>
                    <a:gd name="T33" fmla="*/ 100 h 152"/>
                    <a:gd name="T34" fmla="*/ 0 w 878"/>
                    <a:gd name="T35" fmla="*/ 76 h 152"/>
                    <a:gd name="T36" fmla="*/ 4 w 878"/>
                    <a:gd name="T37" fmla="*/ 52 h 152"/>
                    <a:gd name="T38" fmla="*/ 15 w 878"/>
                    <a:gd name="T39" fmla="*/ 31 h 152"/>
                    <a:gd name="T40" fmla="*/ 31 w 878"/>
                    <a:gd name="T41" fmla="*/ 16 h 152"/>
                    <a:gd name="T42" fmla="*/ 52 w 878"/>
                    <a:gd name="T43" fmla="*/ 4 h 152"/>
                    <a:gd name="T44" fmla="*/ 75 w 878"/>
                    <a:gd name="T45"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8" h="152">
                      <a:moveTo>
                        <a:pt x="75" y="0"/>
                      </a:moveTo>
                      <a:lnTo>
                        <a:pt x="802" y="0"/>
                      </a:lnTo>
                      <a:lnTo>
                        <a:pt x="826" y="4"/>
                      </a:lnTo>
                      <a:lnTo>
                        <a:pt x="847" y="16"/>
                      </a:lnTo>
                      <a:lnTo>
                        <a:pt x="864" y="31"/>
                      </a:lnTo>
                      <a:lnTo>
                        <a:pt x="874" y="52"/>
                      </a:lnTo>
                      <a:lnTo>
                        <a:pt x="878" y="76"/>
                      </a:lnTo>
                      <a:lnTo>
                        <a:pt x="874" y="100"/>
                      </a:lnTo>
                      <a:lnTo>
                        <a:pt x="864" y="121"/>
                      </a:lnTo>
                      <a:lnTo>
                        <a:pt x="847" y="138"/>
                      </a:lnTo>
                      <a:lnTo>
                        <a:pt x="826" y="148"/>
                      </a:lnTo>
                      <a:lnTo>
                        <a:pt x="802" y="152"/>
                      </a:lnTo>
                      <a:lnTo>
                        <a:pt x="75" y="152"/>
                      </a:lnTo>
                      <a:lnTo>
                        <a:pt x="52" y="148"/>
                      </a:lnTo>
                      <a:lnTo>
                        <a:pt x="31" y="138"/>
                      </a:lnTo>
                      <a:lnTo>
                        <a:pt x="15" y="121"/>
                      </a:lnTo>
                      <a:lnTo>
                        <a:pt x="4" y="100"/>
                      </a:lnTo>
                      <a:lnTo>
                        <a:pt x="0" y="76"/>
                      </a:lnTo>
                      <a:lnTo>
                        <a:pt x="4" y="52"/>
                      </a:lnTo>
                      <a:lnTo>
                        <a:pt x="15" y="31"/>
                      </a:lnTo>
                      <a:lnTo>
                        <a:pt x="31" y="16"/>
                      </a:lnTo>
                      <a:lnTo>
                        <a:pt x="52" y="4"/>
                      </a:lnTo>
                      <a:lnTo>
                        <a:pt x="75" y="0"/>
                      </a:lnTo>
                      <a:close/>
                    </a:path>
                  </a:pathLst>
                </a:custGeom>
                <a:solidFill>
                  <a:schemeClr val="bg1">
                    <a:lumMod val="85000"/>
                  </a:schemeClr>
                </a:solidFill>
                <a:ln w="0">
                  <a:noFill/>
                  <a:prstDash val="solid"/>
                  <a:round/>
                  <a:headEnd/>
                  <a:tailEnd/>
                </a:ln>
              </p:spPr>
              <p:txBody>
                <a:bodyPr/>
                <a:lstStyle/>
                <a:p>
                  <a:pPr eaLnBrk="1" fontAlgn="auto" hangingPunct="1">
                    <a:spcBef>
                      <a:spcPts val="0"/>
                    </a:spcBef>
                    <a:spcAft>
                      <a:spcPts val="0"/>
                    </a:spcAft>
                    <a:defRPr/>
                  </a:pPr>
                  <a:endParaRPr lang="en-US" dirty="0">
                    <a:latin typeface="+mn-lt"/>
                    <a:cs typeface="+mn-cs"/>
                  </a:endParaRPr>
                </a:p>
              </p:txBody>
            </p:sp>
            <p:sp>
              <p:nvSpPr>
                <p:cNvPr id="32" name="Freeform 189">
                  <a:extLst>
                    <a:ext uri="{FF2B5EF4-FFF2-40B4-BE49-F238E27FC236}">
                      <a16:creationId xmlns:a16="http://schemas.microsoft.com/office/drawing/2014/main" id="{2A64DFF8-7B42-4F7D-B152-3147F689DEFB}"/>
                    </a:ext>
                  </a:extLst>
                </p:cNvPr>
                <p:cNvSpPr>
                  <a:spLocks/>
                </p:cNvSpPr>
                <p:nvPr/>
              </p:nvSpPr>
              <p:spPr bwMode="auto">
                <a:xfrm>
                  <a:off x="1519210" y="4681456"/>
                  <a:ext cx="1220788" cy="211160"/>
                </a:xfrm>
                <a:custGeom>
                  <a:avLst/>
                  <a:gdLst>
                    <a:gd name="T0" fmla="*/ 75 w 878"/>
                    <a:gd name="T1" fmla="*/ 0 h 151"/>
                    <a:gd name="T2" fmla="*/ 802 w 878"/>
                    <a:gd name="T3" fmla="*/ 0 h 151"/>
                    <a:gd name="T4" fmla="*/ 826 w 878"/>
                    <a:gd name="T5" fmla="*/ 4 h 151"/>
                    <a:gd name="T6" fmla="*/ 847 w 878"/>
                    <a:gd name="T7" fmla="*/ 15 h 151"/>
                    <a:gd name="T8" fmla="*/ 864 w 878"/>
                    <a:gd name="T9" fmla="*/ 32 h 151"/>
                    <a:gd name="T10" fmla="*/ 874 w 878"/>
                    <a:gd name="T11" fmla="*/ 51 h 151"/>
                    <a:gd name="T12" fmla="*/ 878 w 878"/>
                    <a:gd name="T13" fmla="*/ 76 h 151"/>
                    <a:gd name="T14" fmla="*/ 874 w 878"/>
                    <a:gd name="T15" fmla="*/ 100 h 151"/>
                    <a:gd name="T16" fmla="*/ 864 w 878"/>
                    <a:gd name="T17" fmla="*/ 121 h 151"/>
                    <a:gd name="T18" fmla="*/ 847 w 878"/>
                    <a:gd name="T19" fmla="*/ 136 h 151"/>
                    <a:gd name="T20" fmla="*/ 826 w 878"/>
                    <a:gd name="T21" fmla="*/ 147 h 151"/>
                    <a:gd name="T22" fmla="*/ 802 w 878"/>
                    <a:gd name="T23" fmla="*/ 151 h 151"/>
                    <a:gd name="T24" fmla="*/ 75 w 878"/>
                    <a:gd name="T25" fmla="*/ 151 h 151"/>
                    <a:gd name="T26" fmla="*/ 52 w 878"/>
                    <a:gd name="T27" fmla="*/ 147 h 151"/>
                    <a:gd name="T28" fmla="*/ 31 w 878"/>
                    <a:gd name="T29" fmla="*/ 136 h 151"/>
                    <a:gd name="T30" fmla="*/ 15 w 878"/>
                    <a:gd name="T31" fmla="*/ 121 h 151"/>
                    <a:gd name="T32" fmla="*/ 4 w 878"/>
                    <a:gd name="T33" fmla="*/ 100 h 151"/>
                    <a:gd name="T34" fmla="*/ 0 w 878"/>
                    <a:gd name="T35" fmla="*/ 76 h 151"/>
                    <a:gd name="T36" fmla="*/ 4 w 878"/>
                    <a:gd name="T37" fmla="*/ 51 h 151"/>
                    <a:gd name="T38" fmla="*/ 15 w 878"/>
                    <a:gd name="T39" fmla="*/ 32 h 151"/>
                    <a:gd name="T40" fmla="*/ 31 w 878"/>
                    <a:gd name="T41" fmla="*/ 15 h 151"/>
                    <a:gd name="T42" fmla="*/ 52 w 878"/>
                    <a:gd name="T43" fmla="*/ 4 h 151"/>
                    <a:gd name="T44" fmla="*/ 75 w 878"/>
                    <a:gd name="T4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8" h="151">
                      <a:moveTo>
                        <a:pt x="75" y="0"/>
                      </a:moveTo>
                      <a:lnTo>
                        <a:pt x="802" y="0"/>
                      </a:lnTo>
                      <a:lnTo>
                        <a:pt x="826" y="4"/>
                      </a:lnTo>
                      <a:lnTo>
                        <a:pt x="847" y="15"/>
                      </a:lnTo>
                      <a:lnTo>
                        <a:pt x="864" y="32"/>
                      </a:lnTo>
                      <a:lnTo>
                        <a:pt x="874" y="51"/>
                      </a:lnTo>
                      <a:lnTo>
                        <a:pt x="878" y="76"/>
                      </a:lnTo>
                      <a:lnTo>
                        <a:pt x="874" y="100"/>
                      </a:lnTo>
                      <a:lnTo>
                        <a:pt x="864" y="121"/>
                      </a:lnTo>
                      <a:lnTo>
                        <a:pt x="847" y="136"/>
                      </a:lnTo>
                      <a:lnTo>
                        <a:pt x="826" y="147"/>
                      </a:lnTo>
                      <a:lnTo>
                        <a:pt x="802" y="151"/>
                      </a:lnTo>
                      <a:lnTo>
                        <a:pt x="75" y="151"/>
                      </a:lnTo>
                      <a:lnTo>
                        <a:pt x="52" y="147"/>
                      </a:lnTo>
                      <a:lnTo>
                        <a:pt x="31" y="136"/>
                      </a:lnTo>
                      <a:lnTo>
                        <a:pt x="15" y="121"/>
                      </a:lnTo>
                      <a:lnTo>
                        <a:pt x="4" y="100"/>
                      </a:lnTo>
                      <a:lnTo>
                        <a:pt x="0" y="76"/>
                      </a:lnTo>
                      <a:lnTo>
                        <a:pt x="4" y="51"/>
                      </a:lnTo>
                      <a:lnTo>
                        <a:pt x="15" y="32"/>
                      </a:lnTo>
                      <a:lnTo>
                        <a:pt x="31" y="15"/>
                      </a:lnTo>
                      <a:lnTo>
                        <a:pt x="52" y="4"/>
                      </a:lnTo>
                      <a:lnTo>
                        <a:pt x="75" y="0"/>
                      </a:lnTo>
                      <a:close/>
                    </a:path>
                  </a:pathLst>
                </a:custGeom>
                <a:solidFill>
                  <a:schemeClr val="bg1">
                    <a:lumMod val="85000"/>
                  </a:schemeClr>
                </a:solidFill>
                <a:ln w="0">
                  <a:noFill/>
                  <a:prstDash val="solid"/>
                  <a:round/>
                  <a:headEnd/>
                  <a:tailEnd/>
                </a:ln>
              </p:spPr>
              <p:txBody>
                <a:bodyPr/>
                <a:lstStyle/>
                <a:p>
                  <a:pPr eaLnBrk="1" fontAlgn="auto" hangingPunct="1">
                    <a:spcBef>
                      <a:spcPts val="0"/>
                    </a:spcBef>
                    <a:spcAft>
                      <a:spcPts val="0"/>
                    </a:spcAft>
                    <a:defRPr/>
                  </a:pPr>
                  <a:endParaRPr lang="en-US" dirty="0">
                    <a:latin typeface="+mn-lt"/>
                    <a:cs typeface="+mn-cs"/>
                  </a:endParaRPr>
                </a:p>
              </p:txBody>
            </p:sp>
            <p:sp>
              <p:nvSpPr>
                <p:cNvPr id="33" name="Freeform 190">
                  <a:extLst>
                    <a:ext uri="{FF2B5EF4-FFF2-40B4-BE49-F238E27FC236}">
                      <a16:creationId xmlns:a16="http://schemas.microsoft.com/office/drawing/2014/main" id="{066F2E45-37A3-4DF8-9EE0-0869C48E2BB0}"/>
                    </a:ext>
                  </a:extLst>
                </p:cNvPr>
                <p:cNvSpPr>
                  <a:spLocks/>
                </p:cNvSpPr>
                <p:nvPr/>
              </p:nvSpPr>
              <p:spPr bwMode="auto">
                <a:xfrm>
                  <a:off x="1747810" y="4956123"/>
                  <a:ext cx="763588" cy="331824"/>
                </a:xfrm>
                <a:custGeom>
                  <a:avLst/>
                  <a:gdLst>
                    <a:gd name="T0" fmla="*/ 0 w 550"/>
                    <a:gd name="T1" fmla="*/ 0 h 239"/>
                    <a:gd name="T2" fmla="*/ 550 w 550"/>
                    <a:gd name="T3" fmla="*/ 0 h 239"/>
                    <a:gd name="T4" fmla="*/ 550 w 550"/>
                    <a:gd name="T5" fmla="*/ 43 h 239"/>
                    <a:gd name="T6" fmla="*/ 546 w 550"/>
                    <a:gd name="T7" fmla="*/ 83 h 239"/>
                    <a:gd name="T8" fmla="*/ 535 w 550"/>
                    <a:gd name="T9" fmla="*/ 119 h 239"/>
                    <a:gd name="T10" fmla="*/ 516 w 550"/>
                    <a:gd name="T11" fmla="*/ 153 h 239"/>
                    <a:gd name="T12" fmla="*/ 493 w 550"/>
                    <a:gd name="T13" fmla="*/ 182 h 239"/>
                    <a:gd name="T14" fmla="*/ 464 w 550"/>
                    <a:gd name="T15" fmla="*/ 205 h 239"/>
                    <a:gd name="T16" fmla="*/ 431 w 550"/>
                    <a:gd name="T17" fmla="*/ 224 h 239"/>
                    <a:gd name="T18" fmla="*/ 394 w 550"/>
                    <a:gd name="T19" fmla="*/ 235 h 239"/>
                    <a:gd name="T20" fmla="*/ 355 w 550"/>
                    <a:gd name="T21" fmla="*/ 239 h 239"/>
                    <a:gd name="T22" fmla="*/ 195 w 550"/>
                    <a:gd name="T23" fmla="*/ 239 h 239"/>
                    <a:gd name="T24" fmla="*/ 156 w 550"/>
                    <a:gd name="T25" fmla="*/ 235 h 239"/>
                    <a:gd name="T26" fmla="*/ 119 w 550"/>
                    <a:gd name="T27" fmla="*/ 224 h 239"/>
                    <a:gd name="T28" fmla="*/ 85 w 550"/>
                    <a:gd name="T29" fmla="*/ 205 h 239"/>
                    <a:gd name="T30" fmla="*/ 56 w 550"/>
                    <a:gd name="T31" fmla="*/ 182 h 239"/>
                    <a:gd name="T32" fmla="*/ 33 w 550"/>
                    <a:gd name="T33" fmla="*/ 153 h 239"/>
                    <a:gd name="T34" fmla="*/ 15 w 550"/>
                    <a:gd name="T35" fmla="*/ 119 h 239"/>
                    <a:gd name="T36" fmla="*/ 4 w 550"/>
                    <a:gd name="T37" fmla="*/ 83 h 239"/>
                    <a:gd name="T38" fmla="*/ 0 w 550"/>
                    <a:gd name="T39" fmla="*/ 43 h 239"/>
                    <a:gd name="T40" fmla="*/ 0 w 550"/>
                    <a:gd name="T4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50" h="239">
                      <a:moveTo>
                        <a:pt x="0" y="0"/>
                      </a:moveTo>
                      <a:lnTo>
                        <a:pt x="550" y="0"/>
                      </a:lnTo>
                      <a:lnTo>
                        <a:pt x="550" y="43"/>
                      </a:lnTo>
                      <a:lnTo>
                        <a:pt x="546" y="83"/>
                      </a:lnTo>
                      <a:lnTo>
                        <a:pt x="535" y="119"/>
                      </a:lnTo>
                      <a:lnTo>
                        <a:pt x="516" y="153"/>
                      </a:lnTo>
                      <a:lnTo>
                        <a:pt x="493" y="182"/>
                      </a:lnTo>
                      <a:lnTo>
                        <a:pt x="464" y="205"/>
                      </a:lnTo>
                      <a:lnTo>
                        <a:pt x="431" y="224"/>
                      </a:lnTo>
                      <a:lnTo>
                        <a:pt x="394" y="235"/>
                      </a:lnTo>
                      <a:lnTo>
                        <a:pt x="355" y="239"/>
                      </a:lnTo>
                      <a:lnTo>
                        <a:pt x="195" y="239"/>
                      </a:lnTo>
                      <a:lnTo>
                        <a:pt x="156" y="235"/>
                      </a:lnTo>
                      <a:lnTo>
                        <a:pt x="119" y="224"/>
                      </a:lnTo>
                      <a:lnTo>
                        <a:pt x="85" y="205"/>
                      </a:lnTo>
                      <a:lnTo>
                        <a:pt x="56" y="182"/>
                      </a:lnTo>
                      <a:lnTo>
                        <a:pt x="33" y="153"/>
                      </a:lnTo>
                      <a:lnTo>
                        <a:pt x="15" y="119"/>
                      </a:lnTo>
                      <a:lnTo>
                        <a:pt x="4" y="83"/>
                      </a:lnTo>
                      <a:lnTo>
                        <a:pt x="0" y="43"/>
                      </a:lnTo>
                      <a:lnTo>
                        <a:pt x="0" y="0"/>
                      </a:lnTo>
                      <a:close/>
                    </a:path>
                  </a:pathLst>
                </a:custGeom>
                <a:solidFill>
                  <a:schemeClr val="bg1">
                    <a:lumMod val="85000"/>
                  </a:schemeClr>
                </a:solidFill>
                <a:ln w="0">
                  <a:noFill/>
                  <a:prstDash val="solid"/>
                  <a:round/>
                  <a:headEnd/>
                  <a:tailEnd/>
                </a:ln>
              </p:spPr>
              <p:txBody>
                <a:bodyPr/>
                <a:lstStyle/>
                <a:p>
                  <a:pPr eaLnBrk="1" fontAlgn="auto" hangingPunct="1">
                    <a:spcBef>
                      <a:spcPts val="0"/>
                    </a:spcBef>
                    <a:spcAft>
                      <a:spcPts val="0"/>
                    </a:spcAft>
                    <a:defRPr/>
                  </a:pPr>
                  <a:endParaRPr lang="en-US" dirty="0">
                    <a:latin typeface="+mn-lt"/>
                    <a:cs typeface="+mn-cs"/>
                  </a:endParaRPr>
                </a:p>
              </p:txBody>
            </p:sp>
            <p:sp>
              <p:nvSpPr>
                <p:cNvPr id="34" name="Freeform 191">
                  <a:extLst>
                    <a:ext uri="{FF2B5EF4-FFF2-40B4-BE49-F238E27FC236}">
                      <a16:creationId xmlns:a16="http://schemas.microsoft.com/office/drawing/2014/main" id="{7A714031-D2AE-4D5F-B76B-2E0A88C27A6F}"/>
                    </a:ext>
                  </a:extLst>
                </p:cNvPr>
                <p:cNvSpPr>
                  <a:spLocks noEditPoints="1"/>
                </p:cNvSpPr>
                <p:nvPr/>
              </p:nvSpPr>
              <p:spPr bwMode="auto">
                <a:xfrm>
                  <a:off x="2211360" y="2439663"/>
                  <a:ext cx="827088" cy="825590"/>
                </a:xfrm>
                <a:custGeom>
                  <a:avLst/>
                  <a:gdLst>
                    <a:gd name="T0" fmla="*/ 263 w 595"/>
                    <a:gd name="T1" fmla="*/ 133 h 594"/>
                    <a:gd name="T2" fmla="*/ 205 w 595"/>
                    <a:gd name="T3" fmla="*/ 158 h 594"/>
                    <a:gd name="T4" fmla="*/ 159 w 595"/>
                    <a:gd name="T5" fmla="*/ 204 h 594"/>
                    <a:gd name="T6" fmla="*/ 134 w 595"/>
                    <a:gd name="T7" fmla="*/ 264 h 594"/>
                    <a:gd name="T8" fmla="*/ 134 w 595"/>
                    <a:gd name="T9" fmla="*/ 331 h 594"/>
                    <a:gd name="T10" fmla="*/ 159 w 595"/>
                    <a:gd name="T11" fmla="*/ 391 h 594"/>
                    <a:gd name="T12" fmla="*/ 205 w 595"/>
                    <a:gd name="T13" fmla="*/ 436 h 594"/>
                    <a:gd name="T14" fmla="*/ 263 w 595"/>
                    <a:gd name="T15" fmla="*/ 461 h 594"/>
                    <a:gd name="T16" fmla="*/ 332 w 595"/>
                    <a:gd name="T17" fmla="*/ 461 h 594"/>
                    <a:gd name="T18" fmla="*/ 391 w 595"/>
                    <a:gd name="T19" fmla="*/ 436 h 594"/>
                    <a:gd name="T20" fmla="*/ 436 w 595"/>
                    <a:gd name="T21" fmla="*/ 391 h 594"/>
                    <a:gd name="T22" fmla="*/ 461 w 595"/>
                    <a:gd name="T23" fmla="*/ 331 h 594"/>
                    <a:gd name="T24" fmla="*/ 461 w 595"/>
                    <a:gd name="T25" fmla="*/ 264 h 594"/>
                    <a:gd name="T26" fmla="*/ 436 w 595"/>
                    <a:gd name="T27" fmla="*/ 204 h 594"/>
                    <a:gd name="T28" fmla="*/ 391 w 595"/>
                    <a:gd name="T29" fmla="*/ 158 h 594"/>
                    <a:gd name="T30" fmla="*/ 332 w 595"/>
                    <a:gd name="T31" fmla="*/ 133 h 594"/>
                    <a:gd name="T32" fmla="*/ 261 w 595"/>
                    <a:gd name="T33" fmla="*/ 0 h 594"/>
                    <a:gd name="T34" fmla="*/ 334 w 595"/>
                    <a:gd name="T35" fmla="*/ 58 h 594"/>
                    <a:gd name="T36" fmla="*/ 384 w 595"/>
                    <a:gd name="T37" fmla="*/ 72 h 594"/>
                    <a:gd name="T38" fmla="*/ 478 w 595"/>
                    <a:gd name="T39" fmla="*/ 58 h 594"/>
                    <a:gd name="T40" fmla="*/ 468 w 595"/>
                    <a:gd name="T41" fmla="*/ 127 h 594"/>
                    <a:gd name="T42" fmla="*/ 536 w 595"/>
                    <a:gd name="T43" fmla="*/ 116 h 594"/>
                    <a:gd name="T44" fmla="*/ 523 w 595"/>
                    <a:gd name="T45" fmla="*/ 210 h 594"/>
                    <a:gd name="T46" fmla="*/ 536 w 595"/>
                    <a:gd name="T47" fmla="*/ 260 h 594"/>
                    <a:gd name="T48" fmla="*/ 595 w 595"/>
                    <a:gd name="T49" fmla="*/ 335 h 594"/>
                    <a:gd name="T50" fmla="*/ 531 w 595"/>
                    <a:gd name="T51" fmla="*/ 360 h 594"/>
                    <a:gd name="T52" fmla="*/ 574 w 595"/>
                    <a:gd name="T53" fmla="*/ 413 h 594"/>
                    <a:gd name="T54" fmla="*/ 486 w 595"/>
                    <a:gd name="T55" fmla="*/ 449 h 594"/>
                    <a:gd name="T56" fmla="*/ 449 w 595"/>
                    <a:gd name="T57" fmla="*/ 485 h 594"/>
                    <a:gd name="T58" fmla="*/ 414 w 595"/>
                    <a:gd name="T59" fmla="*/ 573 h 594"/>
                    <a:gd name="T60" fmla="*/ 360 w 595"/>
                    <a:gd name="T61" fmla="*/ 530 h 594"/>
                    <a:gd name="T62" fmla="*/ 334 w 595"/>
                    <a:gd name="T63" fmla="*/ 594 h 594"/>
                    <a:gd name="T64" fmla="*/ 261 w 595"/>
                    <a:gd name="T65" fmla="*/ 535 h 594"/>
                    <a:gd name="T66" fmla="*/ 211 w 595"/>
                    <a:gd name="T67" fmla="*/ 522 h 594"/>
                    <a:gd name="T68" fmla="*/ 117 w 595"/>
                    <a:gd name="T69" fmla="*/ 536 h 594"/>
                    <a:gd name="T70" fmla="*/ 127 w 595"/>
                    <a:gd name="T71" fmla="*/ 468 h 594"/>
                    <a:gd name="T72" fmla="*/ 59 w 595"/>
                    <a:gd name="T73" fmla="*/ 478 h 594"/>
                    <a:gd name="T74" fmla="*/ 72 w 595"/>
                    <a:gd name="T75" fmla="*/ 385 h 594"/>
                    <a:gd name="T76" fmla="*/ 59 w 595"/>
                    <a:gd name="T77" fmla="*/ 335 h 594"/>
                    <a:gd name="T78" fmla="*/ 0 w 595"/>
                    <a:gd name="T79" fmla="*/ 260 h 594"/>
                    <a:gd name="T80" fmla="*/ 64 w 595"/>
                    <a:gd name="T81" fmla="*/ 235 h 594"/>
                    <a:gd name="T82" fmla="*/ 21 w 595"/>
                    <a:gd name="T83" fmla="*/ 180 h 594"/>
                    <a:gd name="T84" fmla="*/ 109 w 595"/>
                    <a:gd name="T85" fmla="*/ 146 h 594"/>
                    <a:gd name="T86" fmla="*/ 146 w 595"/>
                    <a:gd name="T87" fmla="*/ 110 h 594"/>
                    <a:gd name="T88" fmla="*/ 181 w 595"/>
                    <a:gd name="T89" fmla="*/ 22 h 594"/>
                    <a:gd name="T90" fmla="*/ 235 w 595"/>
                    <a:gd name="T91" fmla="*/ 64 h 594"/>
                    <a:gd name="T92" fmla="*/ 261 w 595"/>
                    <a:gd name="T93" fmla="*/ 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95" h="594">
                      <a:moveTo>
                        <a:pt x="298" y="131"/>
                      </a:moveTo>
                      <a:lnTo>
                        <a:pt x="263" y="133"/>
                      </a:lnTo>
                      <a:lnTo>
                        <a:pt x="232" y="144"/>
                      </a:lnTo>
                      <a:lnTo>
                        <a:pt x="205" y="158"/>
                      </a:lnTo>
                      <a:lnTo>
                        <a:pt x="180" y="179"/>
                      </a:lnTo>
                      <a:lnTo>
                        <a:pt x="159" y="204"/>
                      </a:lnTo>
                      <a:lnTo>
                        <a:pt x="143" y="233"/>
                      </a:lnTo>
                      <a:lnTo>
                        <a:pt x="134" y="264"/>
                      </a:lnTo>
                      <a:lnTo>
                        <a:pt x="130" y="297"/>
                      </a:lnTo>
                      <a:lnTo>
                        <a:pt x="134" y="331"/>
                      </a:lnTo>
                      <a:lnTo>
                        <a:pt x="143" y="362"/>
                      </a:lnTo>
                      <a:lnTo>
                        <a:pt x="159" y="391"/>
                      </a:lnTo>
                      <a:lnTo>
                        <a:pt x="180" y="416"/>
                      </a:lnTo>
                      <a:lnTo>
                        <a:pt x="205" y="436"/>
                      </a:lnTo>
                      <a:lnTo>
                        <a:pt x="232" y="451"/>
                      </a:lnTo>
                      <a:lnTo>
                        <a:pt x="263" y="461"/>
                      </a:lnTo>
                      <a:lnTo>
                        <a:pt x="298" y="464"/>
                      </a:lnTo>
                      <a:lnTo>
                        <a:pt x="332" y="461"/>
                      </a:lnTo>
                      <a:lnTo>
                        <a:pt x="363" y="451"/>
                      </a:lnTo>
                      <a:lnTo>
                        <a:pt x="391" y="436"/>
                      </a:lnTo>
                      <a:lnTo>
                        <a:pt x="415" y="416"/>
                      </a:lnTo>
                      <a:lnTo>
                        <a:pt x="436" y="391"/>
                      </a:lnTo>
                      <a:lnTo>
                        <a:pt x="452" y="362"/>
                      </a:lnTo>
                      <a:lnTo>
                        <a:pt x="461" y="331"/>
                      </a:lnTo>
                      <a:lnTo>
                        <a:pt x="465" y="297"/>
                      </a:lnTo>
                      <a:lnTo>
                        <a:pt x="461" y="264"/>
                      </a:lnTo>
                      <a:lnTo>
                        <a:pt x="452" y="233"/>
                      </a:lnTo>
                      <a:lnTo>
                        <a:pt x="436" y="204"/>
                      </a:lnTo>
                      <a:lnTo>
                        <a:pt x="415" y="179"/>
                      </a:lnTo>
                      <a:lnTo>
                        <a:pt x="391" y="158"/>
                      </a:lnTo>
                      <a:lnTo>
                        <a:pt x="363" y="144"/>
                      </a:lnTo>
                      <a:lnTo>
                        <a:pt x="332" y="133"/>
                      </a:lnTo>
                      <a:lnTo>
                        <a:pt x="298" y="131"/>
                      </a:lnTo>
                      <a:close/>
                      <a:moveTo>
                        <a:pt x="261" y="0"/>
                      </a:moveTo>
                      <a:lnTo>
                        <a:pt x="334" y="0"/>
                      </a:lnTo>
                      <a:lnTo>
                        <a:pt x="334" y="58"/>
                      </a:lnTo>
                      <a:lnTo>
                        <a:pt x="360" y="64"/>
                      </a:lnTo>
                      <a:lnTo>
                        <a:pt x="384" y="72"/>
                      </a:lnTo>
                      <a:lnTo>
                        <a:pt x="414" y="22"/>
                      </a:lnTo>
                      <a:lnTo>
                        <a:pt x="478" y="58"/>
                      </a:lnTo>
                      <a:lnTo>
                        <a:pt x="449" y="110"/>
                      </a:lnTo>
                      <a:lnTo>
                        <a:pt x="468" y="127"/>
                      </a:lnTo>
                      <a:lnTo>
                        <a:pt x="486" y="146"/>
                      </a:lnTo>
                      <a:lnTo>
                        <a:pt x="536" y="116"/>
                      </a:lnTo>
                      <a:lnTo>
                        <a:pt x="574" y="180"/>
                      </a:lnTo>
                      <a:lnTo>
                        <a:pt x="523" y="210"/>
                      </a:lnTo>
                      <a:lnTo>
                        <a:pt x="531" y="235"/>
                      </a:lnTo>
                      <a:lnTo>
                        <a:pt x="536" y="260"/>
                      </a:lnTo>
                      <a:lnTo>
                        <a:pt x="595" y="260"/>
                      </a:lnTo>
                      <a:lnTo>
                        <a:pt x="595" y="335"/>
                      </a:lnTo>
                      <a:lnTo>
                        <a:pt x="536" y="335"/>
                      </a:lnTo>
                      <a:lnTo>
                        <a:pt x="531" y="360"/>
                      </a:lnTo>
                      <a:lnTo>
                        <a:pt x="523" y="385"/>
                      </a:lnTo>
                      <a:lnTo>
                        <a:pt x="574" y="413"/>
                      </a:lnTo>
                      <a:lnTo>
                        <a:pt x="536" y="478"/>
                      </a:lnTo>
                      <a:lnTo>
                        <a:pt x="486" y="449"/>
                      </a:lnTo>
                      <a:lnTo>
                        <a:pt x="468" y="468"/>
                      </a:lnTo>
                      <a:lnTo>
                        <a:pt x="449" y="485"/>
                      </a:lnTo>
                      <a:lnTo>
                        <a:pt x="478" y="536"/>
                      </a:lnTo>
                      <a:lnTo>
                        <a:pt x="414" y="573"/>
                      </a:lnTo>
                      <a:lnTo>
                        <a:pt x="384" y="522"/>
                      </a:lnTo>
                      <a:lnTo>
                        <a:pt x="360" y="530"/>
                      </a:lnTo>
                      <a:lnTo>
                        <a:pt x="334" y="535"/>
                      </a:lnTo>
                      <a:lnTo>
                        <a:pt x="334" y="594"/>
                      </a:lnTo>
                      <a:lnTo>
                        <a:pt x="261" y="594"/>
                      </a:lnTo>
                      <a:lnTo>
                        <a:pt x="261" y="535"/>
                      </a:lnTo>
                      <a:lnTo>
                        <a:pt x="235" y="530"/>
                      </a:lnTo>
                      <a:lnTo>
                        <a:pt x="211" y="522"/>
                      </a:lnTo>
                      <a:lnTo>
                        <a:pt x="181" y="573"/>
                      </a:lnTo>
                      <a:lnTo>
                        <a:pt x="117" y="536"/>
                      </a:lnTo>
                      <a:lnTo>
                        <a:pt x="146" y="485"/>
                      </a:lnTo>
                      <a:lnTo>
                        <a:pt x="127" y="468"/>
                      </a:lnTo>
                      <a:lnTo>
                        <a:pt x="109" y="449"/>
                      </a:lnTo>
                      <a:lnTo>
                        <a:pt x="59" y="478"/>
                      </a:lnTo>
                      <a:lnTo>
                        <a:pt x="21" y="413"/>
                      </a:lnTo>
                      <a:lnTo>
                        <a:pt x="72" y="385"/>
                      </a:lnTo>
                      <a:lnTo>
                        <a:pt x="64" y="360"/>
                      </a:lnTo>
                      <a:lnTo>
                        <a:pt x="59" y="335"/>
                      </a:lnTo>
                      <a:lnTo>
                        <a:pt x="0" y="335"/>
                      </a:lnTo>
                      <a:lnTo>
                        <a:pt x="0" y="260"/>
                      </a:lnTo>
                      <a:lnTo>
                        <a:pt x="59" y="260"/>
                      </a:lnTo>
                      <a:lnTo>
                        <a:pt x="64" y="235"/>
                      </a:lnTo>
                      <a:lnTo>
                        <a:pt x="72" y="210"/>
                      </a:lnTo>
                      <a:lnTo>
                        <a:pt x="21" y="180"/>
                      </a:lnTo>
                      <a:lnTo>
                        <a:pt x="59" y="116"/>
                      </a:lnTo>
                      <a:lnTo>
                        <a:pt x="109" y="146"/>
                      </a:lnTo>
                      <a:lnTo>
                        <a:pt x="127" y="127"/>
                      </a:lnTo>
                      <a:lnTo>
                        <a:pt x="146" y="110"/>
                      </a:lnTo>
                      <a:lnTo>
                        <a:pt x="117" y="58"/>
                      </a:lnTo>
                      <a:lnTo>
                        <a:pt x="181" y="22"/>
                      </a:lnTo>
                      <a:lnTo>
                        <a:pt x="211" y="72"/>
                      </a:lnTo>
                      <a:lnTo>
                        <a:pt x="235" y="64"/>
                      </a:lnTo>
                      <a:lnTo>
                        <a:pt x="261" y="58"/>
                      </a:lnTo>
                      <a:lnTo>
                        <a:pt x="261" y="0"/>
                      </a:lnTo>
                      <a:close/>
                    </a:path>
                  </a:pathLst>
                </a:custGeom>
                <a:solidFill>
                  <a:srgbClr val="1BAE96"/>
                </a:solidFill>
                <a:ln w="0">
                  <a:noFill/>
                  <a:prstDash val="solid"/>
                  <a:round/>
                  <a:headEnd/>
                  <a:tailEnd/>
                </a:ln>
              </p:spPr>
              <p:txBody>
                <a:bodyPr/>
                <a:lstStyle/>
                <a:p>
                  <a:pPr eaLnBrk="1" fontAlgn="auto" hangingPunct="1">
                    <a:spcBef>
                      <a:spcPts val="0"/>
                    </a:spcBef>
                    <a:spcAft>
                      <a:spcPts val="0"/>
                    </a:spcAft>
                    <a:defRPr/>
                  </a:pPr>
                  <a:endParaRPr lang="en-US" dirty="0">
                    <a:latin typeface="+mn-lt"/>
                    <a:cs typeface="+mn-cs"/>
                  </a:endParaRPr>
                </a:p>
              </p:txBody>
            </p:sp>
            <p:sp>
              <p:nvSpPr>
                <p:cNvPr id="35" name="Freeform 192">
                  <a:extLst>
                    <a:ext uri="{FF2B5EF4-FFF2-40B4-BE49-F238E27FC236}">
                      <a16:creationId xmlns:a16="http://schemas.microsoft.com/office/drawing/2014/main" id="{6C0E3813-35D4-4CD4-B292-9B37C98D0F03}"/>
                    </a:ext>
                  </a:extLst>
                </p:cNvPr>
                <p:cNvSpPr>
                  <a:spLocks noEditPoints="1"/>
                </p:cNvSpPr>
                <p:nvPr/>
              </p:nvSpPr>
              <p:spPr bwMode="auto">
                <a:xfrm>
                  <a:off x="1882748" y="3855867"/>
                  <a:ext cx="225425" cy="225449"/>
                </a:xfrm>
                <a:custGeom>
                  <a:avLst/>
                  <a:gdLst>
                    <a:gd name="T0" fmla="*/ 63 w 163"/>
                    <a:gd name="T1" fmla="*/ 39 h 162"/>
                    <a:gd name="T2" fmla="*/ 39 w 163"/>
                    <a:gd name="T3" fmla="*/ 63 h 162"/>
                    <a:gd name="T4" fmla="*/ 39 w 163"/>
                    <a:gd name="T5" fmla="*/ 98 h 162"/>
                    <a:gd name="T6" fmla="*/ 63 w 163"/>
                    <a:gd name="T7" fmla="*/ 123 h 162"/>
                    <a:gd name="T8" fmla="*/ 100 w 163"/>
                    <a:gd name="T9" fmla="*/ 123 h 162"/>
                    <a:gd name="T10" fmla="*/ 123 w 163"/>
                    <a:gd name="T11" fmla="*/ 98 h 162"/>
                    <a:gd name="T12" fmla="*/ 123 w 163"/>
                    <a:gd name="T13" fmla="*/ 63 h 162"/>
                    <a:gd name="T14" fmla="*/ 100 w 163"/>
                    <a:gd name="T15" fmla="*/ 39 h 162"/>
                    <a:gd name="T16" fmla="*/ 71 w 163"/>
                    <a:gd name="T17" fmla="*/ 0 h 162"/>
                    <a:gd name="T18" fmla="*/ 92 w 163"/>
                    <a:gd name="T19" fmla="*/ 15 h 162"/>
                    <a:gd name="T20" fmla="*/ 105 w 163"/>
                    <a:gd name="T21" fmla="*/ 19 h 162"/>
                    <a:gd name="T22" fmla="*/ 131 w 163"/>
                    <a:gd name="T23" fmla="*/ 15 h 162"/>
                    <a:gd name="T24" fmla="*/ 127 w 163"/>
                    <a:gd name="T25" fmla="*/ 34 h 162"/>
                    <a:gd name="T26" fmla="*/ 147 w 163"/>
                    <a:gd name="T27" fmla="*/ 31 h 162"/>
                    <a:gd name="T28" fmla="*/ 143 w 163"/>
                    <a:gd name="T29" fmla="*/ 57 h 162"/>
                    <a:gd name="T30" fmla="*/ 147 w 163"/>
                    <a:gd name="T31" fmla="*/ 70 h 162"/>
                    <a:gd name="T32" fmla="*/ 163 w 163"/>
                    <a:gd name="T33" fmla="*/ 90 h 162"/>
                    <a:gd name="T34" fmla="*/ 144 w 163"/>
                    <a:gd name="T35" fmla="*/ 98 h 162"/>
                    <a:gd name="T36" fmla="*/ 156 w 163"/>
                    <a:gd name="T37" fmla="*/ 112 h 162"/>
                    <a:gd name="T38" fmla="*/ 132 w 163"/>
                    <a:gd name="T39" fmla="*/ 121 h 162"/>
                    <a:gd name="T40" fmla="*/ 122 w 163"/>
                    <a:gd name="T41" fmla="*/ 132 h 162"/>
                    <a:gd name="T42" fmla="*/ 113 w 163"/>
                    <a:gd name="T43" fmla="*/ 155 h 162"/>
                    <a:gd name="T44" fmla="*/ 98 w 163"/>
                    <a:gd name="T45" fmla="*/ 144 h 162"/>
                    <a:gd name="T46" fmla="*/ 92 w 163"/>
                    <a:gd name="T47" fmla="*/ 162 h 162"/>
                    <a:gd name="T48" fmla="*/ 71 w 163"/>
                    <a:gd name="T49" fmla="*/ 145 h 162"/>
                    <a:gd name="T50" fmla="*/ 58 w 163"/>
                    <a:gd name="T51" fmla="*/ 142 h 162"/>
                    <a:gd name="T52" fmla="*/ 32 w 163"/>
                    <a:gd name="T53" fmla="*/ 145 h 162"/>
                    <a:gd name="T54" fmla="*/ 35 w 163"/>
                    <a:gd name="T55" fmla="*/ 127 h 162"/>
                    <a:gd name="T56" fmla="*/ 16 w 163"/>
                    <a:gd name="T57" fmla="*/ 129 h 162"/>
                    <a:gd name="T58" fmla="*/ 20 w 163"/>
                    <a:gd name="T59" fmla="*/ 104 h 162"/>
                    <a:gd name="T60" fmla="*/ 16 w 163"/>
                    <a:gd name="T61" fmla="*/ 90 h 162"/>
                    <a:gd name="T62" fmla="*/ 0 w 163"/>
                    <a:gd name="T63" fmla="*/ 70 h 162"/>
                    <a:gd name="T64" fmla="*/ 18 w 163"/>
                    <a:gd name="T65" fmla="*/ 64 h 162"/>
                    <a:gd name="T66" fmla="*/ 7 w 163"/>
                    <a:gd name="T67" fmla="*/ 49 h 162"/>
                    <a:gd name="T68" fmla="*/ 30 w 163"/>
                    <a:gd name="T69" fmla="*/ 39 h 162"/>
                    <a:gd name="T70" fmla="*/ 39 w 163"/>
                    <a:gd name="T71" fmla="*/ 30 h 162"/>
                    <a:gd name="T72" fmla="*/ 50 w 163"/>
                    <a:gd name="T73" fmla="*/ 5 h 162"/>
                    <a:gd name="T74" fmla="*/ 64 w 163"/>
                    <a:gd name="T75" fmla="*/ 17 h 162"/>
                    <a:gd name="T76" fmla="*/ 71 w 163"/>
                    <a:gd name="T77"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3" h="162">
                      <a:moveTo>
                        <a:pt x="81" y="35"/>
                      </a:moveTo>
                      <a:lnTo>
                        <a:pt x="63" y="39"/>
                      </a:lnTo>
                      <a:lnTo>
                        <a:pt x="49" y="48"/>
                      </a:lnTo>
                      <a:lnTo>
                        <a:pt x="39" y="63"/>
                      </a:lnTo>
                      <a:lnTo>
                        <a:pt x="35" y="81"/>
                      </a:lnTo>
                      <a:lnTo>
                        <a:pt x="39" y="98"/>
                      </a:lnTo>
                      <a:lnTo>
                        <a:pt x="49" y="112"/>
                      </a:lnTo>
                      <a:lnTo>
                        <a:pt x="63" y="123"/>
                      </a:lnTo>
                      <a:lnTo>
                        <a:pt x="81" y="125"/>
                      </a:lnTo>
                      <a:lnTo>
                        <a:pt x="100" y="123"/>
                      </a:lnTo>
                      <a:lnTo>
                        <a:pt x="114" y="112"/>
                      </a:lnTo>
                      <a:lnTo>
                        <a:pt x="123" y="98"/>
                      </a:lnTo>
                      <a:lnTo>
                        <a:pt x="127" y="81"/>
                      </a:lnTo>
                      <a:lnTo>
                        <a:pt x="123" y="63"/>
                      </a:lnTo>
                      <a:lnTo>
                        <a:pt x="114" y="48"/>
                      </a:lnTo>
                      <a:lnTo>
                        <a:pt x="100" y="39"/>
                      </a:lnTo>
                      <a:lnTo>
                        <a:pt x="81" y="35"/>
                      </a:lnTo>
                      <a:close/>
                      <a:moveTo>
                        <a:pt x="71" y="0"/>
                      </a:moveTo>
                      <a:lnTo>
                        <a:pt x="92" y="0"/>
                      </a:lnTo>
                      <a:lnTo>
                        <a:pt x="92" y="15"/>
                      </a:lnTo>
                      <a:lnTo>
                        <a:pt x="98" y="17"/>
                      </a:lnTo>
                      <a:lnTo>
                        <a:pt x="105" y="19"/>
                      </a:lnTo>
                      <a:lnTo>
                        <a:pt x="113" y="5"/>
                      </a:lnTo>
                      <a:lnTo>
                        <a:pt x="131" y="15"/>
                      </a:lnTo>
                      <a:lnTo>
                        <a:pt x="122" y="30"/>
                      </a:lnTo>
                      <a:lnTo>
                        <a:pt x="127" y="34"/>
                      </a:lnTo>
                      <a:lnTo>
                        <a:pt x="132" y="39"/>
                      </a:lnTo>
                      <a:lnTo>
                        <a:pt x="147" y="31"/>
                      </a:lnTo>
                      <a:lnTo>
                        <a:pt x="156" y="49"/>
                      </a:lnTo>
                      <a:lnTo>
                        <a:pt x="143" y="57"/>
                      </a:lnTo>
                      <a:lnTo>
                        <a:pt x="144" y="64"/>
                      </a:lnTo>
                      <a:lnTo>
                        <a:pt x="147" y="70"/>
                      </a:lnTo>
                      <a:lnTo>
                        <a:pt x="163" y="70"/>
                      </a:lnTo>
                      <a:lnTo>
                        <a:pt x="163" y="90"/>
                      </a:lnTo>
                      <a:lnTo>
                        <a:pt x="147" y="90"/>
                      </a:lnTo>
                      <a:lnTo>
                        <a:pt x="144" y="98"/>
                      </a:lnTo>
                      <a:lnTo>
                        <a:pt x="143" y="104"/>
                      </a:lnTo>
                      <a:lnTo>
                        <a:pt x="156" y="112"/>
                      </a:lnTo>
                      <a:lnTo>
                        <a:pt x="147" y="129"/>
                      </a:lnTo>
                      <a:lnTo>
                        <a:pt x="132" y="121"/>
                      </a:lnTo>
                      <a:lnTo>
                        <a:pt x="127" y="127"/>
                      </a:lnTo>
                      <a:lnTo>
                        <a:pt x="122" y="132"/>
                      </a:lnTo>
                      <a:lnTo>
                        <a:pt x="131" y="145"/>
                      </a:lnTo>
                      <a:lnTo>
                        <a:pt x="113" y="155"/>
                      </a:lnTo>
                      <a:lnTo>
                        <a:pt x="105" y="142"/>
                      </a:lnTo>
                      <a:lnTo>
                        <a:pt x="98" y="144"/>
                      </a:lnTo>
                      <a:lnTo>
                        <a:pt x="92" y="145"/>
                      </a:lnTo>
                      <a:lnTo>
                        <a:pt x="92" y="162"/>
                      </a:lnTo>
                      <a:lnTo>
                        <a:pt x="71" y="162"/>
                      </a:lnTo>
                      <a:lnTo>
                        <a:pt x="71" y="145"/>
                      </a:lnTo>
                      <a:lnTo>
                        <a:pt x="64" y="144"/>
                      </a:lnTo>
                      <a:lnTo>
                        <a:pt x="58" y="142"/>
                      </a:lnTo>
                      <a:lnTo>
                        <a:pt x="50" y="155"/>
                      </a:lnTo>
                      <a:lnTo>
                        <a:pt x="32" y="145"/>
                      </a:lnTo>
                      <a:lnTo>
                        <a:pt x="39" y="132"/>
                      </a:lnTo>
                      <a:lnTo>
                        <a:pt x="35" y="127"/>
                      </a:lnTo>
                      <a:lnTo>
                        <a:pt x="30" y="121"/>
                      </a:lnTo>
                      <a:lnTo>
                        <a:pt x="16" y="129"/>
                      </a:lnTo>
                      <a:lnTo>
                        <a:pt x="7" y="112"/>
                      </a:lnTo>
                      <a:lnTo>
                        <a:pt x="20" y="104"/>
                      </a:lnTo>
                      <a:lnTo>
                        <a:pt x="18" y="98"/>
                      </a:lnTo>
                      <a:lnTo>
                        <a:pt x="16" y="90"/>
                      </a:lnTo>
                      <a:lnTo>
                        <a:pt x="0" y="90"/>
                      </a:lnTo>
                      <a:lnTo>
                        <a:pt x="0" y="70"/>
                      </a:lnTo>
                      <a:lnTo>
                        <a:pt x="16" y="70"/>
                      </a:lnTo>
                      <a:lnTo>
                        <a:pt x="18" y="64"/>
                      </a:lnTo>
                      <a:lnTo>
                        <a:pt x="20" y="57"/>
                      </a:lnTo>
                      <a:lnTo>
                        <a:pt x="7" y="49"/>
                      </a:lnTo>
                      <a:lnTo>
                        <a:pt x="16" y="31"/>
                      </a:lnTo>
                      <a:lnTo>
                        <a:pt x="30" y="39"/>
                      </a:lnTo>
                      <a:lnTo>
                        <a:pt x="35" y="34"/>
                      </a:lnTo>
                      <a:lnTo>
                        <a:pt x="39" y="30"/>
                      </a:lnTo>
                      <a:lnTo>
                        <a:pt x="32" y="15"/>
                      </a:lnTo>
                      <a:lnTo>
                        <a:pt x="50" y="5"/>
                      </a:lnTo>
                      <a:lnTo>
                        <a:pt x="58" y="19"/>
                      </a:lnTo>
                      <a:lnTo>
                        <a:pt x="64" y="17"/>
                      </a:lnTo>
                      <a:lnTo>
                        <a:pt x="71" y="15"/>
                      </a:lnTo>
                      <a:lnTo>
                        <a:pt x="71" y="0"/>
                      </a:lnTo>
                      <a:close/>
                    </a:path>
                  </a:pathLst>
                </a:custGeom>
                <a:solidFill>
                  <a:srgbClr val="1AB49C"/>
                </a:solidFill>
                <a:ln w="0">
                  <a:noFill/>
                  <a:prstDash val="solid"/>
                  <a:round/>
                  <a:headEnd/>
                  <a:tailEnd/>
                </a:ln>
              </p:spPr>
              <p:txBody>
                <a:bodyPr/>
                <a:lstStyle/>
                <a:p>
                  <a:pPr eaLnBrk="1" fontAlgn="auto" hangingPunct="1">
                    <a:spcBef>
                      <a:spcPts val="0"/>
                    </a:spcBef>
                    <a:spcAft>
                      <a:spcPts val="0"/>
                    </a:spcAft>
                    <a:defRPr/>
                  </a:pPr>
                  <a:endParaRPr lang="en-US" dirty="0">
                    <a:latin typeface="+mn-lt"/>
                    <a:cs typeface="+mn-cs"/>
                  </a:endParaRPr>
                </a:p>
              </p:txBody>
            </p:sp>
            <p:sp>
              <p:nvSpPr>
                <p:cNvPr id="36" name="Freeform 193">
                  <a:extLst>
                    <a:ext uri="{FF2B5EF4-FFF2-40B4-BE49-F238E27FC236}">
                      <a16:creationId xmlns:a16="http://schemas.microsoft.com/office/drawing/2014/main" id="{74CB7A0F-2D46-4999-A15E-84A6E08A5879}"/>
                    </a:ext>
                  </a:extLst>
                </p:cNvPr>
                <p:cNvSpPr>
                  <a:spLocks noEditPoints="1"/>
                </p:cNvSpPr>
                <p:nvPr/>
              </p:nvSpPr>
              <p:spPr bwMode="auto">
                <a:xfrm>
                  <a:off x="3033685" y="2969945"/>
                  <a:ext cx="203200" cy="201634"/>
                </a:xfrm>
                <a:custGeom>
                  <a:avLst/>
                  <a:gdLst>
                    <a:gd name="T0" fmla="*/ 2147483646 w 146"/>
                    <a:gd name="T1" fmla="*/ 2147483646 h 145"/>
                    <a:gd name="T2" fmla="*/ 2147483646 w 146"/>
                    <a:gd name="T3" fmla="*/ 2147483646 h 145"/>
                    <a:gd name="T4" fmla="*/ 2147483646 w 146"/>
                    <a:gd name="T5" fmla="*/ 2147483646 h 145"/>
                    <a:gd name="T6" fmla="*/ 2147483646 w 146"/>
                    <a:gd name="T7" fmla="*/ 2147483646 h 145"/>
                    <a:gd name="T8" fmla="*/ 2147483646 w 146"/>
                    <a:gd name="T9" fmla="*/ 2147483646 h 145"/>
                    <a:gd name="T10" fmla="*/ 2147483646 w 146"/>
                    <a:gd name="T11" fmla="*/ 2147483646 h 145"/>
                    <a:gd name="T12" fmla="*/ 2147483646 w 146"/>
                    <a:gd name="T13" fmla="*/ 2147483646 h 145"/>
                    <a:gd name="T14" fmla="*/ 2147483646 w 146"/>
                    <a:gd name="T15" fmla="*/ 2147483646 h 145"/>
                    <a:gd name="T16" fmla="*/ 2147483646 w 146"/>
                    <a:gd name="T17" fmla="*/ 0 h 145"/>
                    <a:gd name="T18" fmla="*/ 2147483646 w 146"/>
                    <a:gd name="T19" fmla="*/ 2147483646 h 145"/>
                    <a:gd name="T20" fmla="*/ 2147483646 w 146"/>
                    <a:gd name="T21" fmla="*/ 2147483646 h 145"/>
                    <a:gd name="T22" fmla="*/ 2147483646 w 146"/>
                    <a:gd name="T23" fmla="*/ 2147483646 h 145"/>
                    <a:gd name="T24" fmla="*/ 2147483646 w 146"/>
                    <a:gd name="T25" fmla="*/ 2147483646 h 145"/>
                    <a:gd name="T26" fmla="*/ 2147483646 w 146"/>
                    <a:gd name="T27" fmla="*/ 2147483646 h 145"/>
                    <a:gd name="T28" fmla="*/ 2147483646 w 146"/>
                    <a:gd name="T29" fmla="*/ 2147483646 h 145"/>
                    <a:gd name="T30" fmla="*/ 2147483646 w 146"/>
                    <a:gd name="T31" fmla="*/ 2147483646 h 145"/>
                    <a:gd name="T32" fmla="*/ 2147483646 w 146"/>
                    <a:gd name="T33" fmla="*/ 2147483646 h 145"/>
                    <a:gd name="T34" fmla="*/ 2147483646 w 146"/>
                    <a:gd name="T35" fmla="*/ 2147483646 h 145"/>
                    <a:gd name="T36" fmla="*/ 2147483646 w 146"/>
                    <a:gd name="T37" fmla="*/ 2147483646 h 145"/>
                    <a:gd name="T38" fmla="*/ 2147483646 w 146"/>
                    <a:gd name="T39" fmla="*/ 2147483646 h 145"/>
                    <a:gd name="T40" fmla="*/ 2147483646 w 146"/>
                    <a:gd name="T41" fmla="*/ 2147483646 h 145"/>
                    <a:gd name="T42" fmla="*/ 2147483646 w 146"/>
                    <a:gd name="T43" fmla="*/ 2147483646 h 145"/>
                    <a:gd name="T44" fmla="*/ 2147483646 w 146"/>
                    <a:gd name="T45" fmla="*/ 2147483646 h 145"/>
                    <a:gd name="T46" fmla="*/ 2147483646 w 146"/>
                    <a:gd name="T47" fmla="*/ 2147483646 h 145"/>
                    <a:gd name="T48" fmla="*/ 2147483646 w 146"/>
                    <a:gd name="T49" fmla="*/ 2147483646 h 145"/>
                    <a:gd name="T50" fmla="*/ 2147483646 w 146"/>
                    <a:gd name="T51" fmla="*/ 2147483646 h 145"/>
                    <a:gd name="T52" fmla="*/ 2147483646 w 146"/>
                    <a:gd name="T53" fmla="*/ 2147483646 h 145"/>
                    <a:gd name="T54" fmla="*/ 2147483646 w 146"/>
                    <a:gd name="T55" fmla="*/ 2147483646 h 145"/>
                    <a:gd name="T56" fmla="*/ 2147483646 w 146"/>
                    <a:gd name="T57" fmla="*/ 2147483646 h 145"/>
                    <a:gd name="T58" fmla="*/ 2147483646 w 146"/>
                    <a:gd name="T59" fmla="*/ 2147483646 h 145"/>
                    <a:gd name="T60" fmla="*/ 2147483646 w 146"/>
                    <a:gd name="T61" fmla="*/ 2147483646 h 145"/>
                    <a:gd name="T62" fmla="*/ 0 w 146"/>
                    <a:gd name="T63" fmla="*/ 2147483646 h 145"/>
                    <a:gd name="T64" fmla="*/ 2147483646 w 146"/>
                    <a:gd name="T65" fmla="*/ 2147483646 h 145"/>
                    <a:gd name="T66" fmla="*/ 2147483646 w 146"/>
                    <a:gd name="T67" fmla="*/ 2147483646 h 145"/>
                    <a:gd name="T68" fmla="*/ 2147483646 w 146"/>
                    <a:gd name="T69" fmla="*/ 2147483646 h 145"/>
                    <a:gd name="T70" fmla="*/ 2147483646 w 146"/>
                    <a:gd name="T71" fmla="*/ 2147483646 h 145"/>
                    <a:gd name="T72" fmla="*/ 2147483646 w 146"/>
                    <a:gd name="T73" fmla="*/ 2147483646 h 145"/>
                    <a:gd name="T74" fmla="*/ 2147483646 w 146"/>
                    <a:gd name="T75" fmla="*/ 2147483646 h 145"/>
                    <a:gd name="T76" fmla="*/ 2147483646 w 146"/>
                    <a:gd name="T77" fmla="*/ 0 h 14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46"/>
                    <a:gd name="T118" fmla="*/ 0 h 145"/>
                    <a:gd name="T119" fmla="*/ 146 w 146"/>
                    <a:gd name="T120" fmla="*/ 145 h 14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46" h="145">
                      <a:moveTo>
                        <a:pt x="74" y="31"/>
                      </a:moveTo>
                      <a:lnTo>
                        <a:pt x="58" y="35"/>
                      </a:lnTo>
                      <a:lnTo>
                        <a:pt x="45" y="43"/>
                      </a:lnTo>
                      <a:lnTo>
                        <a:pt x="36" y="56"/>
                      </a:lnTo>
                      <a:lnTo>
                        <a:pt x="33" y="72"/>
                      </a:lnTo>
                      <a:lnTo>
                        <a:pt x="36" y="89"/>
                      </a:lnTo>
                      <a:lnTo>
                        <a:pt x="45" y="101"/>
                      </a:lnTo>
                      <a:lnTo>
                        <a:pt x="58" y="110"/>
                      </a:lnTo>
                      <a:lnTo>
                        <a:pt x="74" y="114"/>
                      </a:lnTo>
                      <a:lnTo>
                        <a:pt x="89" y="110"/>
                      </a:lnTo>
                      <a:lnTo>
                        <a:pt x="102" y="101"/>
                      </a:lnTo>
                      <a:lnTo>
                        <a:pt x="112" y="89"/>
                      </a:lnTo>
                      <a:lnTo>
                        <a:pt x="114" y="72"/>
                      </a:lnTo>
                      <a:lnTo>
                        <a:pt x="112" y="56"/>
                      </a:lnTo>
                      <a:lnTo>
                        <a:pt x="102" y="43"/>
                      </a:lnTo>
                      <a:lnTo>
                        <a:pt x="89" y="35"/>
                      </a:lnTo>
                      <a:lnTo>
                        <a:pt x="74" y="31"/>
                      </a:lnTo>
                      <a:close/>
                      <a:moveTo>
                        <a:pt x="64" y="0"/>
                      </a:moveTo>
                      <a:lnTo>
                        <a:pt x="83" y="0"/>
                      </a:lnTo>
                      <a:lnTo>
                        <a:pt x="83" y="13"/>
                      </a:lnTo>
                      <a:lnTo>
                        <a:pt x="88" y="16"/>
                      </a:lnTo>
                      <a:lnTo>
                        <a:pt x="95" y="17"/>
                      </a:lnTo>
                      <a:lnTo>
                        <a:pt x="102" y="5"/>
                      </a:lnTo>
                      <a:lnTo>
                        <a:pt x="118" y="13"/>
                      </a:lnTo>
                      <a:lnTo>
                        <a:pt x="110" y="26"/>
                      </a:lnTo>
                      <a:lnTo>
                        <a:pt x="116" y="30"/>
                      </a:lnTo>
                      <a:lnTo>
                        <a:pt x="119" y="35"/>
                      </a:lnTo>
                      <a:lnTo>
                        <a:pt x="131" y="29"/>
                      </a:lnTo>
                      <a:lnTo>
                        <a:pt x="140" y="44"/>
                      </a:lnTo>
                      <a:lnTo>
                        <a:pt x="129" y="51"/>
                      </a:lnTo>
                      <a:lnTo>
                        <a:pt x="130" y="58"/>
                      </a:lnTo>
                      <a:lnTo>
                        <a:pt x="131" y="63"/>
                      </a:lnTo>
                      <a:lnTo>
                        <a:pt x="146" y="63"/>
                      </a:lnTo>
                      <a:lnTo>
                        <a:pt x="146" y="81"/>
                      </a:lnTo>
                      <a:lnTo>
                        <a:pt x="131" y="81"/>
                      </a:lnTo>
                      <a:lnTo>
                        <a:pt x="130" y="88"/>
                      </a:lnTo>
                      <a:lnTo>
                        <a:pt x="129" y="94"/>
                      </a:lnTo>
                      <a:lnTo>
                        <a:pt x="140" y="101"/>
                      </a:lnTo>
                      <a:lnTo>
                        <a:pt x="131" y="116"/>
                      </a:lnTo>
                      <a:lnTo>
                        <a:pt x="119" y="110"/>
                      </a:lnTo>
                      <a:lnTo>
                        <a:pt x="116" y="114"/>
                      </a:lnTo>
                      <a:lnTo>
                        <a:pt x="110" y="119"/>
                      </a:lnTo>
                      <a:lnTo>
                        <a:pt x="118" y="131"/>
                      </a:lnTo>
                      <a:lnTo>
                        <a:pt x="102" y="140"/>
                      </a:lnTo>
                      <a:lnTo>
                        <a:pt x="95" y="127"/>
                      </a:lnTo>
                      <a:lnTo>
                        <a:pt x="88" y="130"/>
                      </a:lnTo>
                      <a:lnTo>
                        <a:pt x="83" y="131"/>
                      </a:lnTo>
                      <a:lnTo>
                        <a:pt x="83" y="145"/>
                      </a:lnTo>
                      <a:lnTo>
                        <a:pt x="64" y="145"/>
                      </a:lnTo>
                      <a:lnTo>
                        <a:pt x="64" y="131"/>
                      </a:lnTo>
                      <a:lnTo>
                        <a:pt x="58" y="130"/>
                      </a:lnTo>
                      <a:lnTo>
                        <a:pt x="53" y="127"/>
                      </a:lnTo>
                      <a:lnTo>
                        <a:pt x="45" y="140"/>
                      </a:lnTo>
                      <a:lnTo>
                        <a:pt x="29" y="131"/>
                      </a:lnTo>
                      <a:lnTo>
                        <a:pt x="36" y="119"/>
                      </a:lnTo>
                      <a:lnTo>
                        <a:pt x="32" y="114"/>
                      </a:lnTo>
                      <a:lnTo>
                        <a:pt x="28" y="110"/>
                      </a:lnTo>
                      <a:lnTo>
                        <a:pt x="15" y="116"/>
                      </a:lnTo>
                      <a:lnTo>
                        <a:pt x="5" y="101"/>
                      </a:lnTo>
                      <a:lnTo>
                        <a:pt x="19" y="94"/>
                      </a:lnTo>
                      <a:lnTo>
                        <a:pt x="16" y="88"/>
                      </a:lnTo>
                      <a:lnTo>
                        <a:pt x="15" y="81"/>
                      </a:lnTo>
                      <a:lnTo>
                        <a:pt x="0" y="81"/>
                      </a:lnTo>
                      <a:lnTo>
                        <a:pt x="0" y="63"/>
                      </a:lnTo>
                      <a:lnTo>
                        <a:pt x="15" y="63"/>
                      </a:lnTo>
                      <a:lnTo>
                        <a:pt x="16" y="58"/>
                      </a:lnTo>
                      <a:lnTo>
                        <a:pt x="19" y="51"/>
                      </a:lnTo>
                      <a:lnTo>
                        <a:pt x="5" y="44"/>
                      </a:lnTo>
                      <a:lnTo>
                        <a:pt x="15" y="29"/>
                      </a:lnTo>
                      <a:lnTo>
                        <a:pt x="28" y="35"/>
                      </a:lnTo>
                      <a:lnTo>
                        <a:pt x="32" y="30"/>
                      </a:lnTo>
                      <a:lnTo>
                        <a:pt x="36" y="26"/>
                      </a:lnTo>
                      <a:lnTo>
                        <a:pt x="29" y="13"/>
                      </a:lnTo>
                      <a:lnTo>
                        <a:pt x="45" y="5"/>
                      </a:lnTo>
                      <a:lnTo>
                        <a:pt x="53" y="17"/>
                      </a:lnTo>
                      <a:lnTo>
                        <a:pt x="58" y="16"/>
                      </a:lnTo>
                      <a:lnTo>
                        <a:pt x="64" y="13"/>
                      </a:lnTo>
                      <a:lnTo>
                        <a:pt x="64" y="0"/>
                      </a:lnTo>
                      <a:close/>
                    </a:path>
                  </a:pathLst>
                </a:custGeom>
                <a:solidFill>
                  <a:srgbClr val="9F3D34"/>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s-ES"/>
                </a:p>
              </p:txBody>
            </p:sp>
            <p:sp>
              <p:nvSpPr>
                <p:cNvPr id="37" name="Freeform 194">
                  <a:extLst>
                    <a:ext uri="{FF2B5EF4-FFF2-40B4-BE49-F238E27FC236}">
                      <a16:creationId xmlns:a16="http://schemas.microsoft.com/office/drawing/2014/main" id="{AC8889C4-26B3-41E1-BFA2-49D3F6C88663}"/>
                    </a:ext>
                  </a:extLst>
                </p:cNvPr>
                <p:cNvSpPr>
                  <a:spLocks noEditPoints="1"/>
                </p:cNvSpPr>
                <p:nvPr/>
              </p:nvSpPr>
              <p:spPr bwMode="auto">
                <a:xfrm>
                  <a:off x="2179610" y="3165229"/>
                  <a:ext cx="201613" cy="201635"/>
                </a:xfrm>
                <a:custGeom>
                  <a:avLst/>
                  <a:gdLst>
                    <a:gd name="T0" fmla="*/ 2147483646 w 145"/>
                    <a:gd name="T1" fmla="*/ 2147483646 h 145"/>
                    <a:gd name="T2" fmla="*/ 2147483646 w 145"/>
                    <a:gd name="T3" fmla="*/ 2147483646 h 145"/>
                    <a:gd name="T4" fmla="*/ 2147483646 w 145"/>
                    <a:gd name="T5" fmla="*/ 2147483646 h 145"/>
                    <a:gd name="T6" fmla="*/ 2147483646 w 145"/>
                    <a:gd name="T7" fmla="*/ 2147483646 h 145"/>
                    <a:gd name="T8" fmla="*/ 2147483646 w 145"/>
                    <a:gd name="T9" fmla="*/ 2147483646 h 145"/>
                    <a:gd name="T10" fmla="*/ 2147483646 w 145"/>
                    <a:gd name="T11" fmla="*/ 2147483646 h 145"/>
                    <a:gd name="T12" fmla="*/ 2147483646 w 145"/>
                    <a:gd name="T13" fmla="*/ 2147483646 h 145"/>
                    <a:gd name="T14" fmla="*/ 2147483646 w 145"/>
                    <a:gd name="T15" fmla="*/ 2147483646 h 145"/>
                    <a:gd name="T16" fmla="*/ 2147483646 w 145"/>
                    <a:gd name="T17" fmla="*/ 0 h 145"/>
                    <a:gd name="T18" fmla="*/ 2147483646 w 145"/>
                    <a:gd name="T19" fmla="*/ 2147483646 h 145"/>
                    <a:gd name="T20" fmla="*/ 2147483646 w 145"/>
                    <a:gd name="T21" fmla="*/ 2147483646 h 145"/>
                    <a:gd name="T22" fmla="*/ 2147483646 w 145"/>
                    <a:gd name="T23" fmla="*/ 2147483646 h 145"/>
                    <a:gd name="T24" fmla="*/ 2147483646 w 145"/>
                    <a:gd name="T25" fmla="*/ 2147483646 h 145"/>
                    <a:gd name="T26" fmla="*/ 2147483646 w 145"/>
                    <a:gd name="T27" fmla="*/ 2147483646 h 145"/>
                    <a:gd name="T28" fmla="*/ 2147483646 w 145"/>
                    <a:gd name="T29" fmla="*/ 2147483646 h 145"/>
                    <a:gd name="T30" fmla="*/ 2147483646 w 145"/>
                    <a:gd name="T31" fmla="*/ 2147483646 h 145"/>
                    <a:gd name="T32" fmla="*/ 2147483646 w 145"/>
                    <a:gd name="T33" fmla="*/ 2147483646 h 145"/>
                    <a:gd name="T34" fmla="*/ 2147483646 w 145"/>
                    <a:gd name="T35" fmla="*/ 2147483646 h 145"/>
                    <a:gd name="T36" fmla="*/ 2147483646 w 145"/>
                    <a:gd name="T37" fmla="*/ 2147483646 h 145"/>
                    <a:gd name="T38" fmla="*/ 2147483646 w 145"/>
                    <a:gd name="T39" fmla="*/ 2147483646 h 145"/>
                    <a:gd name="T40" fmla="*/ 2147483646 w 145"/>
                    <a:gd name="T41" fmla="*/ 2147483646 h 145"/>
                    <a:gd name="T42" fmla="*/ 2147483646 w 145"/>
                    <a:gd name="T43" fmla="*/ 2147483646 h 145"/>
                    <a:gd name="T44" fmla="*/ 2147483646 w 145"/>
                    <a:gd name="T45" fmla="*/ 2147483646 h 145"/>
                    <a:gd name="T46" fmla="*/ 2147483646 w 145"/>
                    <a:gd name="T47" fmla="*/ 2147483646 h 145"/>
                    <a:gd name="T48" fmla="*/ 2147483646 w 145"/>
                    <a:gd name="T49" fmla="*/ 2147483646 h 145"/>
                    <a:gd name="T50" fmla="*/ 2147483646 w 145"/>
                    <a:gd name="T51" fmla="*/ 2147483646 h 145"/>
                    <a:gd name="T52" fmla="*/ 2147483646 w 145"/>
                    <a:gd name="T53" fmla="*/ 2147483646 h 145"/>
                    <a:gd name="T54" fmla="*/ 2147483646 w 145"/>
                    <a:gd name="T55" fmla="*/ 2147483646 h 145"/>
                    <a:gd name="T56" fmla="*/ 2147483646 w 145"/>
                    <a:gd name="T57" fmla="*/ 2147483646 h 145"/>
                    <a:gd name="T58" fmla="*/ 2147483646 w 145"/>
                    <a:gd name="T59" fmla="*/ 2147483646 h 145"/>
                    <a:gd name="T60" fmla="*/ 2147483646 w 145"/>
                    <a:gd name="T61" fmla="*/ 2147483646 h 145"/>
                    <a:gd name="T62" fmla="*/ 0 w 145"/>
                    <a:gd name="T63" fmla="*/ 2147483646 h 145"/>
                    <a:gd name="T64" fmla="*/ 2147483646 w 145"/>
                    <a:gd name="T65" fmla="*/ 2147483646 h 145"/>
                    <a:gd name="T66" fmla="*/ 2147483646 w 145"/>
                    <a:gd name="T67" fmla="*/ 2147483646 h 145"/>
                    <a:gd name="T68" fmla="*/ 2147483646 w 145"/>
                    <a:gd name="T69" fmla="*/ 2147483646 h 145"/>
                    <a:gd name="T70" fmla="*/ 2147483646 w 145"/>
                    <a:gd name="T71" fmla="*/ 2147483646 h 145"/>
                    <a:gd name="T72" fmla="*/ 2147483646 w 145"/>
                    <a:gd name="T73" fmla="*/ 2147483646 h 145"/>
                    <a:gd name="T74" fmla="*/ 2147483646 w 145"/>
                    <a:gd name="T75" fmla="*/ 2147483646 h 145"/>
                    <a:gd name="T76" fmla="*/ 2147483646 w 145"/>
                    <a:gd name="T77" fmla="*/ 0 h 14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45"/>
                    <a:gd name="T118" fmla="*/ 0 h 145"/>
                    <a:gd name="T119" fmla="*/ 145 w 145"/>
                    <a:gd name="T120" fmla="*/ 145 h 14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45" h="145">
                      <a:moveTo>
                        <a:pt x="72" y="31"/>
                      </a:moveTo>
                      <a:lnTo>
                        <a:pt x="56" y="35"/>
                      </a:lnTo>
                      <a:lnTo>
                        <a:pt x="43" y="43"/>
                      </a:lnTo>
                      <a:lnTo>
                        <a:pt x="34" y="56"/>
                      </a:lnTo>
                      <a:lnTo>
                        <a:pt x="31" y="72"/>
                      </a:lnTo>
                      <a:lnTo>
                        <a:pt x="34" y="89"/>
                      </a:lnTo>
                      <a:lnTo>
                        <a:pt x="43" y="101"/>
                      </a:lnTo>
                      <a:lnTo>
                        <a:pt x="56" y="110"/>
                      </a:lnTo>
                      <a:lnTo>
                        <a:pt x="72" y="114"/>
                      </a:lnTo>
                      <a:lnTo>
                        <a:pt x="87" y="110"/>
                      </a:lnTo>
                      <a:lnTo>
                        <a:pt x="100" y="101"/>
                      </a:lnTo>
                      <a:lnTo>
                        <a:pt x="110" y="89"/>
                      </a:lnTo>
                      <a:lnTo>
                        <a:pt x="112" y="72"/>
                      </a:lnTo>
                      <a:lnTo>
                        <a:pt x="110" y="56"/>
                      </a:lnTo>
                      <a:lnTo>
                        <a:pt x="100" y="43"/>
                      </a:lnTo>
                      <a:lnTo>
                        <a:pt x="87" y="35"/>
                      </a:lnTo>
                      <a:lnTo>
                        <a:pt x="72" y="31"/>
                      </a:lnTo>
                      <a:close/>
                      <a:moveTo>
                        <a:pt x="62" y="0"/>
                      </a:moveTo>
                      <a:lnTo>
                        <a:pt x="81" y="0"/>
                      </a:lnTo>
                      <a:lnTo>
                        <a:pt x="81" y="14"/>
                      </a:lnTo>
                      <a:lnTo>
                        <a:pt x="87" y="16"/>
                      </a:lnTo>
                      <a:lnTo>
                        <a:pt x="93" y="17"/>
                      </a:lnTo>
                      <a:lnTo>
                        <a:pt x="100" y="5"/>
                      </a:lnTo>
                      <a:lnTo>
                        <a:pt x="116" y="14"/>
                      </a:lnTo>
                      <a:lnTo>
                        <a:pt x="108" y="26"/>
                      </a:lnTo>
                      <a:lnTo>
                        <a:pt x="114" y="30"/>
                      </a:lnTo>
                      <a:lnTo>
                        <a:pt x="118" y="35"/>
                      </a:lnTo>
                      <a:lnTo>
                        <a:pt x="131" y="29"/>
                      </a:lnTo>
                      <a:lnTo>
                        <a:pt x="140" y="45"/>
                      </a:lnTo>
                      <a:lnTo>
                        <a:pt x="127" y="51"/>
                      </a:lnTo>
                      <a:lnTo>
                        <a:pt x="129" y="58"/>
                      </a:lnTo>
                      <a:lnTo>
                        <a:pt x="131" y="63"/>
                      </a:lnTo>
                      <a:lnTo>
                        <a:pt x="145" y="63"/>
                      </a:lnTo>
                      <a:lnTo>
                        <a:pt x="145" y="81"/>
                      </a:lnTo>
                      <a:lnTo>
                        <a:pt x="131" y="81"/>
                      </a:lnTo>
                      <a:lnTo>
                        <a:pt x="129" y="88"/>
                      </a:lnTo>
                      <a:lnTo>
                        <a:pt x="127" y="94"/>
                      </a:lnTo>
                      <a:lnTo>
                        <a:pt x="140" y="101"/>
                      </a:lnTo>
                      <a:lnTo>
                        <a:pt x="131" y="117"/>
                      </a:lnTo>
                      <a:lnTo>
                        <a:pt x="118" y="110"/>
                      </a:lnTo>
                      <a:lnTo>
                        <a:pt x="114" y="114"/>
                      </a:lnTo>
                      <a:lnTo>
                        <a:pt x="108" y="119"/>
                      </a:lnTo>
                      <a:lnTo>
                        <a:pt x="116" y="131"/>
                      </a:lnTo>
                      <a:lnTo>
                        <a:pt x="100" y="140"/>
                      </a:lnTo>
                      <a:lnTo>
                        <a:pt x="93" y="127"/>
                      </a:lnTo>
                      <a:lnTo>
                        <a:pt x="87" y="130"/>
                      </a:lnTo>
                      <a:lnTo>
                        <a:pt x="81" y="131"/>
                      </a:lnTo>
                      <a:lnTo>
                        <a:pt x="81" y="145"/>
                      </a:lnTo>
                      <a:lnTo>
                        <a:pt x="62" y="145"/>
                      </a:lnTo>
                      <a:lnTo>
                        <a:pt x="62" y="131"/>
                      </a:lnTo>
                      <a:lnTo>
                        <a:pt x="56" y="130"/>
                      </a:lnTo>
                      <a:lnTo>
                        <a:pt x="51" y="127"/>
                      </a:lnTo>
                      <a:lnTo>
                        <a:pt x="43" y="140"/>
                      </a:lnTo>
                      <a:lnTo>
                        <a:pt x="27" y="131"/>
                      </a:lnTo>
                      <a:lnTo>
                        <a:pt x="35" y="119"/>
                      </a:lnTo>
                      <a:lnTo>
                        <a:pt x="30" y="114"/>
                      </a:lnTo>
                      <a:lnTo>
                        <a:pt x="26" y="110"/>
                      </a:lnTo>
                      <a:lnTo>
                        <a:pt x="13" y="117"/>
                      </a:lnTo>
                      <a:lnTo>
                        <a:pt x="4" y="101"/>
                      </a:lnTo>
                      <a:lnTo>
                        <a:pt x="17" y="94"/>
                      </a:lnTo>
                      <a:lnTo>
                        <a:pt x="15" y="88"/>
                      </a:lnTo>
                      <a:lnTo>
                        <a:pt x="14" y="81"/>
                      </a:lnTo>
                      <a:lnTo>
                        <a:pt x="0" y="81"/>
                      </a:lnTo>
                      <a:lnTo>
                        <a:pt x="0" y="63"/>
                      </a:lnTo>
                      <a:lnTo>
                        <a:pt x="14" y="63"/>
                      </a:lnTo>
                      <a:lnTo>
                        <a:pt x="15" y="58"/>
                      </a:lnTo>
                      <a:lnTo>
                        <a:pt x="17" y="51"/>
                      </a:lnTo>
                      <a:lnTo>
                        <a:pt x="4" y="45"/>
                      </a:lnTo>
                      <a:lnTo>
                        <a:pt x="13" y="29"/>
                      </a:lnTo>
                      <a:lnTo>
                        <a:pt x="26" y="35"/>
                      </a:lnTo>
                      <a:lnTo>
                        <a:pt x="30" y="30"/>
                      </a:lnTo>
                      <a:lnTo>
                        <a:pt x="35" y="26"/>
                      </a:lnTo>
                      <a:lnTo>
                        <a:pt x="27" y="14"/>
                      </a:lnTo>
                      <a:lnTo>
                        <a:pt x="43" y="5"/>
                      </a:lnTo>
                      <a:lnTo>
                        <a:pt x="51" y="17"/>
                      </a:lnTo>
                      <a:lnTo>
                        <a:pt x="56" y="16"/>
                      </a:lnTo>
                      <a:lnTo>
                        <a:pt x="62" y="14"/>
                      </a:lnTo>
                      <a:lnTo>
                        <a:pt x="62" y="0"/>
                      </a:lnTo>
                      <a:close/>
                    </a:path>
                  </a:pathLst>
                </a:custGeom>
                <a:solidFill>
                  <a:srgbClr val="9F3D34"/>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s-ES"/>
                </a:p>
              </p:txBody>
            </p:sp>
            <p:sp>
              <p:nvSpPr>
                <p:cNvPr id="38" name="Freeform 195">
                  <a:extLst>
                    <a:ext uri="{FF2B5EF4-FFF2-40B4-BE49-F238E27FC236}">
                      <a16:creationId xmlns:a16="http://schemas.microsoft.com/office/drawing/2014/main" id="{42F65D16-68FB-4AC0-B72B-EA3BAD4C3D4A}"/>
                    </a:ext>
                  </a:extLst>
                </p:cNvPr>
                <p:cNvSpPr>
                  <a:spLocks noEditPoints="1"/>
                </p:cNvSpPr>
                <p:nvPr/>
              </p:nvSpPr>
              <p:spPr bwMode="auto">
                <a:xfrm>
                  <a:off x="2763038" y="912481"/>
                  <a:ext cx="423749" cy="425180"/>
                </a:xfrm>
                <a:custGeom>
                  <a:avLst/>
                  <a:gdLst>
                    <a:gd name="T0" fmla="*/ 2147483646 w 305"/>
                    <a:gd name="T1" fmla="*/ 2147483646 h 306"/>
                    <a:gd name="T2" fmla="*/ 2147483646 w 305"/>
                    <a:gd name="T3" fmla="*/ 2147483646 h 306"/>
                    <a:gd name="T4" fmla="*/ 2147483646 w 305"/>
                    <a:gd name="T5" fmla="*/ 2147483646 h 306"/>
                    <a:gd name="T6" fmla="*/ 2147483646 w 305"/>
                    <a:gd name="T7" fmla="*/ 2147483646 h 306"/>
                    <a:gd name="T8" fmla="*/ 2147483646 w 305"/>
                    <a:gd name="T9" fmla="*/ 2147483646 h 306"/>
                    <a:gd name="T10" fmla="*/ 2147483646 w 305"/>
                    <a:gd name="T11" fmla="*/ 2147483646 h 306"/>
                    <a:gd name="T12" fmla="*/ 2147483646 w 305"/>
                    <a:gd name="T13" fmla="*/ 2147483646 h 306"/>
                    <a:gd name="T14" fmla="*/ 2147483646 w 305"/>
                    <a:gd name="T15" fmla="*/ 2147483646 h 306"/>
                    <a:gd name="T16" fmla="*/ 2147483646 w 305"/>
                    <a:gd name="T17" fmla="*/ 2147483646 h 306"/>
                    <a:gd name="T18" fmla="*/ 2147483646 w 305"/>
                    <a:gd name="T19" fmla="*/ 2147483646 h 306"/>
                    <a:gd name="T20" fmla="*/ 2147483646 w 305"/>
                    <a:gd name="T21" fmla="*/ 2147483646 h 306"/>
                    <a:gd name="T22" fmla="*/ 2147483646 w 305"/>
                    <a:gd name="T23" fmla="*/ 2147483646 h 306"/>
                    <a:gd name="T24" fmla="*/ 2147483646 w 305"/>
                    <a:gd name="T25" fmla="*/ 0 h 306"/>
                    <a:gd name="T26" fmla="*/ 2147483646 w 305"/>
                    <a:gd name="T27" fmla="*/ 2147483646 h 306"/>
                    <a:gd name="T28" fmla="*/ 2147483646 w 305"/>
                    <a:gd name="T29" fmla="*/ 2147483646 h 306"/>
                    <a:gd name="T30" fmla="*/ 2147483646 w 305"/>
                    <a:gd name="T31" fmla="*/ 2147483646 h 306"/>
                    <a:gd name="T32" fmla="*/ 2147483646 w 305"/>
                    <a:gd name="T33" fmla="*/ 2147483646 h 306"/>
                    <a:gd name="T34" fmla="*/ 2147483646 w 305"/>
                    <a:gd name="T35" fmla="*/ 2147483646 h 306"/>
                    <a:gd name="T36" fmla="*/ 2147483646 w 305"/>
                    <a:gd name="T37" fmla="*/ 2147483646 h 306"/>
                    <a:gd name="T38" fmla="*/ 2147483646 w 305"/>
                    <a:gd name="T39" fmla="*/ 2147483646 h 306"/>
                    <a:gd name="T40" fmla="*/ 2147483646 w 305"/>
                    <a:gd name="T41" fmla="*/ 2147483646 h 306"/>
                    <a:gd name="T42" fmla="*/ 2147483646 w 305"/>
                    <a:gd name="T43" fmla="*/ 2147483646 h 306"/>
                    <a:gd name="T44" fmla="*/ 2147483646 w 305"/>
                    <a:gd name="T45" fmla="*/ 2147483646 h 306"/>
                    <a:gd name="T46" fmla="*/ 2147483646 w 305"/>
                    <a:gd name="T47" fmla="*/ 2147483646 h 306"/>
                    <a:gd name="T48" fmla="*/ 2147483646 w 305"/>
                    <a:gd name="T49" fmla="*/ 2147483646 h 306"/>
                    <a:gd name="T50" fmla="*/ 2147483646 w 305"/>
                    <a:gd name="T51" fmla="*/ 2147483646 h 306"/>
                    <a:gd name="T52" fmla="*/ 2147483646 w 305"/>
                    <a:gd name="T53" fmla="*/ 2147483646 h 306"/>
                    <a:gd name="T54" fmla="*/ 2147483646 w 305"/>
                    <a:gd name="T55" fmla="*/ 2147483646 h 306"/>
                    <a:gd name="T56" fmla="*/ 2147483646 w 305"/>
                    <a:gd name="T57" fmla="*/ 2147483646 h 306"/>
                    <a:gd name="T58" fmla="*/ 2147483646 w 305"/>
                    <a:gd name="T59" fmla="*/ 2147483646 h 306"/>
                    <a:gd name="T60" fmla="*/ 2147483646 w 305"/>
                    <a:gd name="T61" fmla="*/ 2147483646 h 306"/>
                    <a:gd name="T62" fmla="*/ 2147483646 w 305"/>
                    <a:gd name="T63" fmla="*/ 2147483646 h 306"/>
                    <a:gd name="T64" fmla="*/ 0 w 305"/>
                    <a:gd name="T65" fmla="*/ 2147483646 h 306"/>
                    <a:gd name="T66" fmla="*/ 2147483646 w 305"/>
                    <a:gd name="T67" fmla="*/ 2147483646 h 306"/>
                    <a:gd name="T68" fmla="*/ 2147483646 w 305"/>
                    <a:gd name="T69" fmla="*/ 2147483646 h 306"/>
                    <a:gd name="T70" fmla="*/ 2147483646 w 305"/>
                    <a:gd name="T71" fmla="*/ 2147483646 h 306"/>
                    <a:gd name="T72" fmla="*/ 2147483646 w 305"/>
                    <a:gd name="T73" fmla="*/ 2147483646 h 306"/>
                    <a:gd name="T74" fmla="*/ 2147483646 w 305"/>
                    <a:gd name="T75" fmla="*/ 2147483646 h 306"/>
                    <a:gd name="T76" fmla="*/ 2147483646 w 305"/>
                    <a:gd name="T77" fmla="*/ 0 h 30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05"/>
                    <a:gd name="T118" fmla="*/ 0 h 306"/>
                    <a:gd name="T119" fmla="*/ 305 w 305"/>
                    <a:gd name="T120" fmla="*/ 306 h 30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05" h="306">
                      <a:moveTo>
                        <a:pt x="152" y="67"/>
                      </a:moveTo>
                      <a:lnTo>
                        <a:pt x="130" y="71"/>
                      </a:lnTo>
                      <a:lnTo>
                        <a:pt x="109" y="78"/>
                      </a:lnTo>
                      <a:lnTo>
                        <a:pt x="92" y="92"/>
                      </a:lnTo>
                      <a:lnTo>
                        <a:pt x="79" y="110"/>
                      </a:lnTo>
                      <a:lnTo>
                        <a:pt x="70" y="130"/>
                      </a:lnTo>
                      <a:lnTo>
                        <a:pt x="67" y="153"/>
                      </a:lnTo>
                      <a:lnTo>
                        <a:pt x="70" y="175"/>
                      </a:lnTo>
                      <a:lnTo>
                        <a:pt x="79" y="196"/>
                      </a:lnTo>
                      <a:lnTo>
                        <a:pt x="92" y="213"/>
                      </a:lnTo>
                      <a:lnTo>
                        <a:pt x="109" y="228"/>
                      </a:lnTo>
                      <a:lnTo>
                        <a:pt x="130" y="236"/>
                      </a:lnTo>
                      <a:lnTo>
                        <a:pt x="152" y="240"/>
                      </a:lnTo>
                      <a:lnTo>
                        <a:pt x="176" y="236"/>
                      </a:lnTo>
                      <a:lnTo>
                        <a:pt x="197" y="228"/>
                      </a:lnTo>
                      <a:lnTo>
                        <a:pt x="214" y="213"/>
                      </a:lnTo>
                      <a:lnTo>
                        <a:pt x="227" y="196"/>
                      </a:lnTo>
                      <a:lnTo>
                        <a:pt x="236" y="175"/>
                      </a:lnTo>
                      <a:lnTo>
                        <a:pt x="238" y="153"/>
                      </a:lnTo>
                      <a:lnTo>
                        <a:pt x="236" y="130"/>
                      </a:lnTo>
                      <a:lnTo>
                        <a:pt x="227" y="110"/>
                      </a:lnTo>
                      <a:lnTo>
                        <a:pt x="214" y="92"/>
                      </a:lnTo>
                      <a:lnTo>
                        <a:pt x="197" y="78"/>
                      </a:lnTo>
                      <a:lnTo>
                        <a:pt x="176" y="71"/>
                      </a:lnTo>
                      <a:lnTo>
                        <a:pt x="152" y="67"/>
                      </a:lnTo>
                      <a:close/>
                      <a:moveTo>
                        <a:pt x="134" y="0"/>
                      </a:moveTo>
                      <a:lnTo>
                        <a:pt x="172" y="0"/>
                      </a:lnTo>
                      <a:lnTo>
                        <a:pt x="172" y="30"/>
                      </a:lnTo>
                      <a:lnTo>
                        <a:pt x="198" y="38"/>
                      </a:lnTo>
                      <a:lnTo>
                        <a:pt x="212" y="12"/>
                      </a:lnTo>
                      <a:lnTo>
                        <a:pt x="245" y="30"/>
                      </a:lnTo>
                      <a:lnTo>
                        <a:pt x="231" y="56"/>
                      </a:lnTo>
                      <a:lnTo>
                        <a:pt x="240" y="65"/>
                      </a:lnTo>
                      <a:lnTo>
                        <a:pt x="249" y="75"/>
                      </a:lnTo>
                      <a:lnTo>
                        <a:pt x="275" y="60"/>
                      </a:lnTo>
                      <a:lnTo>
                        <a:pt x="295" y="93"/>
                      </a:lnTo>
                      <a:lnTo>
                        <a:pt x="269" y="109"/>
                      </a:lnTo>
                      <a:lnTo>
                        <a:pt x="275" y="133"/>
                      </a:lnTo>
                      <a:lnTo>
                        <a:pt x="305" y="133"/>
                      </a:lnTo>
                      <a:lnTo>
                        <a:pt x="305" y="171"/>
                      </a:lnTo>
                      <a:lnTo>
                        <a:pt x="275" y="171"/>
                      </a:lnTo>
                      <a:lnTo>
                        <a:pt x="269" y="198"/>
                      </a:lnTo>
                      <a:lnTo>
                        <a:pt x="295" y="213"/>
                      </a:lnTo>
                      <a:lnTo>
                        <a:pt x="275" y="246"/>
                      </a:lnTo>
                      <a:lnTo>
                        <a:pt x="249" y="230"/>
                      </a:lnTo>
                      <a:lnTo>
                        <a:pt x="240" y="241"/>
                      </a:lnTo>
                      <a:lnTo>
                        <a:pt x="231" y="250"/>
                      </a:lnTo>
                      <a:lnTo>
                        <a:pt x="245" y="276"/>
                      </a:lnTo>
                      <a:lnTo>
                        <a:pt x="212" y="295"/>
                      </a:lnTo>
                      <a:lnTo>
                        <a:pt x="198" y="268"/>
                      </a:lnTo>
                      <a:lnTo>
                        <a:pt x="172" y="275"/>
                      </a:lnTo>
                      <a:lnTo>
                        <a:pt x="172" y="306"/>
                      </a:lnTo>
                      <a:lnTo>
                        <a:pt x="134" y="306"/>
                      </a:lnTo>
                      <a:lnTo>
                        <a:pt x="134" y="275"/>
                      </a:lnTo>
                      <a:lnTo>
                        <a:pt x="107" y="268"/>
                      </a:lnTo>
                      <a:lnTo>
                        <a:pt x="93" y="295"/>
                      </a:lnTo>
                      <a:lnTo>
                        <a:pt x="59" y="276"/>
                      </a:lnTo>
                      <a:lnTo>
                        <a:pt x="75" y="250"/>
                      </a:lnTo>
                      <a:lnTo>
                        <a:pt x="64" y="241"/>
                      </a:lnTo>
                      <a:lnTo>
                        <a:pt x="56" y="230"/>
                      </a:lnTo>
                      <a:lnTo>
                        <a:pt x="30" y="246"/>
                      </a:lnTo>
                      <a:lnTo>
                        <a:pt x="11" y="213"/>
                      </a:lnTo>
                      <a:lnTo>
                        <a:pt x="37" y="198"/>
                      </a:lnTo>
                      <a:lnTo>
                        <a:pt x="30" y="171"/>
                      </a:lnTo>
                      <a:lnTo>
                        <a:pt x="0" y="171"/>
                      </a:lnTo>
                      <a:lnTo>
                        <a:pt x="0" y="133"/>
                      </a:lnTo>
                      <a:lnTo>
                        <a:pt x="30" y="133"/>
                      </a:lnTo>
                      <a:lnTo>
                        <a:pt x="37" y="109"/>
                      </a:lnTo>
                      <a:lnTo>
                        <a:pt x="11" y="93"/>
                      </a:lnTo>
                      <a:lnTo>
                        <a:pt x="30" y="60"/>
                      </a:lnTo>
                      <a:lnTo>
                        <a:pt x="56" y="75"/>
                      </a:lnTo>
                      <a:lnTo>
                        <a:pt x="64" y="65"/>
                      </a:lnTo>
                      <a:lnTo>
                        <a:pt x="75" y="56"/>
                      </a:lnTo>
                      <a:lnTo>
                        <a:pt x="59" y="30"/>
                      </a:lnTo>
                      <a:lnTo>
                        <a:pt x="93" y="12"/>
                      </a:lnTo>
                      <a:lnTo>
                        <a:pt x="107" y="38"/>
                      </a:lnTo>
                      <a:lnTo>
                        <a:pt x="134" y="30"/>
                      </a:lnTo>
                      <a:lnTo>
                        <a:pt x="134" y="0"/>
                      </a:lnTo>
                      <a:close/>
                    </a:path>
                  </a:pathLst>
                </a:custGeom>
                <a:solidFill>
                  <a:srgbClr val="9F3D34"/>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s-ES"/>
                </a:p>
              </p:txBody>
            </p:sp>
            <p:sp>
              <p:nvSpPr>
                <p:cNvPr id="39" name="Freeform 196">
                  <a:extLst>
                    <a:ext uri="{FF2B5EF4-FFF2-40B4-BE49-F238E27FC236}">
                      <a16:creationId xmlns:a16="http://schemas.microsoft.com/office/drawing/2014/main" id="{5B489E4C-A04B-4E50-880C-02DAA9B66356}"/>
                    </a:ext>
                  </a:extLst>
                </p:cNvPr>
                <p:cNvSpPr>
                  <a:spLocks noEditPoints="1"/>
                </p:cNvSpPr>
                <p:nvPr/>
              </p:nvSpPr>
              <p:spPr bwMode="auto">
                <a:xfrm>
                  <a:off x="642910" y="1361633"/>
                  <a:ext cx="917575" cy="919263"/>
                </a:xfrm>
                <a:custGeom>
                  <a:avLst/>
                  <a:gdLst>
                    <a:gd name="T0" fmla="*/ 2147483646 w 660"/>
                    <a:gd name="T1" fmla="*/ 2147483646 h 662"/>
                    <a:gd name="T2" fmla="*/ 2147483646 w 660"/>
                    <a:gd name="T3" fmla="*/ 2147483646 h 662"/>
                    <a:gd name="T4" fmla="*/ 2147483646 w 660"/>
                    <a:gd name="T5" fmla="*/ 2147483646 h 662"/>
                    <a:gd name="T6" fmla="*/ 2147483646 w 660"/>
                    <a:gd name="T7" fmla="*/ 2147483646 h 662"/>
                    <a:gd name="T8" fmla="*/ 2147483646 w 660"/>
                    <a:gd name="T9" fmla="*/ 2147483646 h 662"/>
                    <a:gd name="T10" fmla="*/ 2147483646 w 660"/>
                    <a:gd name="T11" fmla="*/ 2147483646 h 662"/>
                    <a:gd name="T12" fmla="*/ 2147483646 w 660"/>
                    <a:gd name="T13" fmla="*/ 2147483646 h 662"/>
                    <a:gd name="T14" fmla="*/ 2147483646 w 660"/>
                    <a:gd name="T15" fmla="*/ 2147483646 h 662"/>
                    <a:gd name="T16" fmla="*/ 2147483646 w 660"/>
                    <a:gd name="T17" fmla="*/ 2147483646 h 662"/>
                    <a:gd name="T18" fmla="*/ 2147483646 w 660"/>
                    <a:gd name="T19" fmla="*/ 2147483646 h 662"/>
                    <a:gd name="T20" fmla="*/ 2147483646 w 660"/>
                    <a:gd name="T21" fmla="*/ 2147483646 h 662"/>
                    <a:gd name="T22" fmla="*/ 2147483646 w 660"/>
                    <a:gd name="T23" fmla="*/ 2147483646 h 662"/>
                    <a:gd name="T24" fmla="*/ 2147483646 w 660"/>
                    <a:gd name="T25" fmla="*/ 2147483646 h 662"/>
                    <a:gd name="T26" fmla="*/ 2147483646 w 660"/>
                    <a:gd name="T27" fmla="*/ 2147483646 h 662"/>
                    <a:gd name="T28" fmla="*/ 2147483646 w 660"/>
                    <a:gd name="T29" fmla="*/ 0 h 662"/>
                    <a:gd name="T30" fmla="*/ 2147483646 w 660"/>
                    <a:gd name="T31" fmla="*/ 2147483646 h 662"/>
                    <a:gd name="T32" fmla="*/ 2147483646 w 660"/>
                    <a:gd name="T33" fmla="*/ 2147483646 h 662"/>
                    <a:gd name="T34" fmla="*/ 2147483646 w 660"/>
                    <a:gd name="T35" fmla="*/ 2147483646 h 662"/>
                    <a:gd name="T36" fmla="*/ 2147483646 w 660"/>
                    <a:gd name="T37" fmla="*/ 2147483646 h 662"/>
                    <a:gd name="T38" fmla="*/ 2147483646 w 660"/>
                    <a:gd name="T39" fmla="*/ 2147483646 h 662"/>
                    <a:gd name="T40" fmla="*/ 2147483646 w 660"/>
                    <a:gd name="T41" fmla="*/ 2147483646 h 662"/>
                    <a:gd name="T42" fmla="*/ 2147483646 w 660"/>
                    <a:gd name="T43" fmla="*/ 2147483646 h 662"/>
                    <a:gd name="T44" fmla="*/ 2147483646 w 660"/>
                    <a:gd name="T45" fmla="*/ 2147483646 h 662"/>
                    <a:gd name="T46" fmla="*/ 2147483646 w 660"/>
                    <a:gd name="T47" fmla="*/ 2147483646 h 662"/>
                    <a:gd name="T48" fmla="*/ 2147483646 w 660"/>
                    <a:gd name="T49" fmla="*/ 2147483646 h 662"/>
                    <a:gd name="T50" fmla="*/ 2147483646 w 660"/>
                    <a:gd name="T51" fmla="*/ 2147483646 h 662"/>
                    <a:gd name="T52" fmla="*/ 2147483646 w 660"/>
                    <a:gd name="T53" fmla="*/ 2147483646 h 662"/>
                    <a:gd name="T54" fmla="*/ 2147483646 w 660"/>
                    <a:gd name="T55" fmla="*/ 2147483646 h 662"/>
                    <a:gd name="T56" fmla="*/ 2147483646 w 660"/>
                    <a:gd name="T57" fmla="*/ 2147483646 h 662"/>
                    <a:gd name="T58" fmla="*/ 2147483646 w 660"/>
                    <a:gd name="T59" fmla="*/ 2147483646 h 662"/>
                    <a:gd name="T60" fmla="*/ 2147483646 w 660"/>
                    <a:gd name="T61" fmla="*/ 2147483646 h 662"/>
                    <a:gd name="T62" fmla="*/ 2147483646 w 660"/>
                    <a:gd name="T63" fmla="*/ 2147483646 h 662"/>
                    <a:gd name="T64" fmla="*/ 2147483646 w 660"/>
                    <a:gd name="T65" fmla="*/ 2147483646 h 662"/>
                    <a:gd name="T66" fmla="*/ 2147483646 w 660"/>
                    <a:gd name="T67" fmla="*/ 2147483646 h 662"/>
                    <a:gd name="T68" fmla="*/ 2147483646 w 660"/>
                    <a:gd name="T69" fmla="*/ 2147483646 h 662"/>
                    <a:gd name="T70" fmla="*/ 2147483646 w 660"/>
                    <a:gd name="T71" fmla="*/ 2147483646 h 662"/>
                    <a:gd name="T72" fmla="*/ 2147483646 w 660"/>
                    <a:gd name="T73" fmla="*/ 2147483646 h 662"/>
                    <a:gd name="T74" fmla="*/ 2147483646 w 660"/>
                    <a:gd name="T75" fmla="*/ 2147483646 h 662"/>
                    <a:gd name="T76" fmla="*/ 2147483646 w 660"/>
                    <a:gd name="T77" fmla="*/ 2147483646 h 662"/>
                    <a:gd name="T78" fmla="*/ 2147483646 w 660"/>
                    <a:gd name="T79" fmla="*/ 2147483646 h 662"/>
                    <a:gd name="T80" fmla="*/ 2147483646 w 660"/>
                    <a:gd name="T81" fmla="*/ 2147483646 h 662"/>
                    <a:gd name="T82" fmla="*/ 2147483646 w 660"/>
                    <a:gd name="T83" fmla="*/ 2147483646 h 662"/>
                    <a:gd name="T84" fmla="*/ 2147483646 w 660"/>
                    <a:gd name="T85" fmla="*/ 2147483646 h 662"/>
                    <a:gd name="T86" fmla="*/ 2147483646 w 660"/>
                    <a:gd name="T87" fmla="*/ 2147483646 h 662"/>
                    <a:gd name="T88" fmla="*/ 2147483646 w 660"/>
                    <a:gd name="T89" fmla="*/ 2147483646 h 662"/>
                    <a:gd name="T90" fmla="*/ 2147483646 w 660"/>
                    <a:gd name="T91" fmla="*/ 2147483646 h 662"/>
                    <a:gd name="T92" fmla="*/ 2147483646 w 660"/>
                    <a:gd name="T93" fmla="*/ 2147483646 h 662"/>
                    <a:gd name="T94" fmla="*/ 2147483646 w 660"/>
                    <a:gd name="T95" fmla="*/ 2147483646 h 662"/>
                    <a:gd name="T96" fmla="*/ 2147483646 w 660"/>
                    <a:gd name="T97" fmla="*/ 2147483646 h 662"/>
                    <a:gd name="T98" fmla="*/ 2147483646 w 660"/>
                    <a:gd name="T99" fmla="*/ 2147483646 h 662"/>
                    <a:gd name="T100" fmla="*/ 0 w 660"/>
                    <a:gd name="T101" fmla="*/ 2147483646 h 662"/>
                    <a:gd name="T102" fmla="*/ 2147483646 w 660"/>
                    <a:gd name="T103" fmla="*/ 2147483646 h 662"/>
                    <a:gd name="T104" fmla="*/ 2147483646 w 660"/>
                    <a:gd name="T105" fmla="*/ 2147483646 h 662"/>
                    <a:gd name="T106" fmla="*/ 2147483646 w 660"/>
                    <a:gd name="T107" fmla="*/ 2147483646 h 662"/>
                    <a:gd name="T108" fmla="*/ 2147483646 w 660"/>
                    <a:gd name="T109" fmla="*/ 2147483646 h 662"/>
                    <a:gd name="T110" fmla="*/ 2147483646 w 660"/>
                    <a:gd name="T111" fmla="*/ 2147483646 h 662"/>
                    <a:gd name="T112" fmla="*/ 2147483646 w 660"/>
                    <a:gd name="T113" fmla="*/ 2147483646 h 662"/>
                    <a:gd name="T114" fmla="*/ 2147483646 w 660"/>
                    <a:gd name="T115" fmla="*/ 2147483646 h 662"/>
                    <a:gd name="T116" fmla="*/ 2147483646 w 660"/>
                    <a:gd name="T117" fmla="*/ 2147483646 h 662"/>
                    <a:gd name="T118" fmla="*/ 2147483646 w 660"/>
                    <a:gd name="T119" fmla="*/ 2147483646 h 662"/>
                    <a:gd name="T120" fmla="*/ 2147483646 w 660"/>
                    <a:gd name="T121" fmla="*/ 2147483646 h 662"/>
                    <a:gd name="T122" fmla="*/ 2147483646 w 660"/>
                    <a:gd name="T123" fmla="*/ 2147483646 h 662"/>
                    <a:gd name="T124" fmla="*/ 2147483646 w 660"/>
                    <a:gd name="T125" fmla="*/ 0 h 66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60"/>
                    <a:gd name="T190" fmla="*/ 0 h 662"/>
                    <a:gd name="T191" fmla="*/ 660 w 660"/>
                    <a:gd name="T192" fmla="*/ 662 h 66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60" h="662">
                      <a:moveTo>
                        <a:pt x="324" y="224"/>
                      </a:moveTo>
                      <a:lnTo>
                        <a:pt x="300" y="228"/>
                      </a:lnTo>
                      <a:lnTo>
                        <a:pt x="278" y="237"/>
                      </a:lnTo>
                      <a:lnTo>
                        <a:pt x="258" y="252"/>
                      </a:lnTo>
                      <a:lnTo>
                        <a:pt x="241" y="270"/>
                      </a:lnTo>
                      <a:lnTo>
                        <a:pt x="231" y="291"/>
                      </a:lnTo>
                      <a:lnTo>
                        <a:pt x="224" y="313"/>
                      </a:lnTo>
                      <a:lnTo>
                        <a:pt x="223" y="337"/>
                      </a:lnTo>
                      <a:lnTo>
                        <a:pt x="227" y="360"/>
                      </a:lnTo>
                      <a:lnTo>
                        <a:pt x="236" y="383"/>
                      </a:lnTo>
                      <a:lnTo>
                        <a:pt x="250" y="402"/>
                      </a:lnTo>
                      <a:lnTo>
                        <a:pt x="269" y="419"/>
                      </a:lnTo>
                      <a:lnTo>
                        <a:pt x="290" y="431"/>
                      </a:lnTo>
                      <a:lnTo>
                        <a:pt x="313" y="436"/>
                      </a:lnTo>
                      <a:lnTo>
                        <a:pt x="337" y="438"/>
                      </a:lnTo>
                      <a:lnTo>
                        <a:pt x="359" y="434"/>
                      </a:lnTo>
                      <a:lnTo>
                        <a:pt x="381" y="425"/>
                      </a:lnTo>
                      <a:lnTo>
                        <a:pt x="402" y="410"/>
                      </a:lnTo>
                      <a:lnTo>
                        <a:pt x="418" y="392"/>
                      </a:lnTo>
                      <a:lnTo>
                        <a:pt x="430" y="371"/>
                      </a:lnTo>
                      <a:lnTo>
                        <a:pt x="436" y="349"/>
                      </a:lnTo>
                      <a:lnTo>
                        <a:pt x="438" y="325"/>
                      </a:lnTo>
                      <a:lnTo>
                        <a:pt x="434" y="302"/>
                      </a:lnTo>
                      <a:lnTo>
                        <a:pt x="424" y="279"/>
                      </a:lnTo>
                      <a:lnTo>
                        <a:pt x="410" y="260"/>
                      </a:lnTo>
                      <a:lnTo>
                        <a:pt x="392" y="243"/>
                      </a:lnTo>
                      <a:lnTo>
                        <a:pt x="369" y="231"/>
                      </a:lnTo>
                      <a:lnTo>
                        <a:pt x="347" y="226"/>
                      </a:lnTo>
                      <a:lnTo>
                        <a:pt x="324" y="224"/>
                      </a:lnTo>
                      <a:close/>
                      <a:moveTo>
                        <a:pt x="311" y="0"/>
                      </a:moveTo>
                      <a:lnTo>
                        <a:pt x="313" y="11"/>
                      </a:lnTo>
                      <a:lnTo>
                        <a:pt x="324" y="63"/>
                      </a:lnTo>
                      <a:lnTo>
                        <a:pt x="364" y="66"/>
                      </a:lnTo>
                      <a:lnTo>
                        <a:pt x="380" y="15"/>
                      </a:lnTo>
                      <a:lnTo>
                        <a:pt x="384" y="4"/>
                      </a:lnTo>
                      <a:lnTo>
                        <a:pt x="393" y="8"/>
                      </a:lnTo>
                      <a:lnTo>
                        <a:pt x="469" y="32"/>
                      </a:lnTo>
                      <a:lnTo>
                        <a:pt x="478" y="36"/>
                      </a:lnTo>
                      <a:lnTo>
                        <a:pt x="476" y="45"/>
                      </a:lnTo>
                      <a:lnTo>
                        <a:pt x="459" y="96"/>
                      </a:lnTo>
                      <a:lnTo>
                        <a:pt x="491" y="118"/>
                      </a:lnTo>
                      <a:lnTo>
                        <a:pt x="532" y="82"/>
                      </a:lnTo>
                      <a:lnTo>
                        <a:pt x="540" y="75"/>
                      </a:lnTo>
                      <a:lnTo>
                        <a:pt x="546" y="83"/>
                      </a:lnTo>
                      <a:lnTo>
                        <a:pt x="599" y="142"/>
                      </a:lnTo>
                      <a:lnTo>
                        <a:pt x="607" y="150"/>
                      </a:lnTo>
                      <a:lnTo>
                        <a:pt x="599" y="156"/>
                      </a:lnTo>
                      <a:lnTo>
                        <a:pt x="558" y="192"/>
                      </a:lnTo>
                      <a:lnTo>
                        <a:pt x="576" y="227"/>
                      </a:lnTo>
                      <a:lnTo>
                        <a:pt x="629" y="216"/>
                      </a:lnTo>
                      <a:lnTo>
                        <a:pt x="639" y="214"/>
                      </a:lnTo>
                      <a:lnTo>
                        <a:pt x="642" y="224"/>
                      </a:lnTo>
                      <a:lnTo>
                        <a:pt x="658" y="302"/>
                      </a:lnTo>
                      <a:lnTo>
                        <a:pt x="660" y="312"/>
                      </a:lnTo>
                      <a:lnTo>
                        <a:pt x="650" y="313"/>
                      </a:lnTo>
                      <a:lnTo>
                        <a:pt x="597" y="325"/>
                      </a:lnTo>
                      <a:lnTo>
                        <a:pt x="595" y="364"/>
                      </a:lnTo>
                      <a:lnTo>
                        <a:pt x="647" y="381"/>
                      </a:lnTo>
                      <a:lnTo>
                        <a:pt x="656" y="384"/>
                      </a:lnTo>
                      <a:lnTo>
                        <a:pt x="654" y="395"/>
                      </a:lnTo>
                      <a:lnTo>
                        <a:pt x="629" y="469"/>
                      </a:lnTo>
                      <a:lnTo>
                        <a:pt x="626" y="480"/>
                      </a:lnTo>
                      <a:lnTo>
                        <a:pt x="616" y="476"/>
                      </a:lnTo>
                      <a:lnTo>
                        <a:pt x="565" y="459"/>
                      </a:lnTo>
                      <a:lnTo>
                        <a:pt x="542" y="493"/>
                      </a:lnTo>
                      <a:lnTo>
                        <a:pt x="579" y="533"/>
                      </a:lnTo>
                      <a:lnTo>
                        <a:pt x="586" y="540"/>
                      </a:lnTo>
                      <a:lnTo>
                        <a:pt x="578" y="548"/>
                      </a:lnTo>
                      <a:lnTo>
                        <a:pt x="520" y="600"/>
                      </a:lnTo>
                      <a:lnTo>
                        <a:pt x="512" y="607"/>
                      </a:lnTo>
                      <a:lnTo>
                        <a:pt x="506" y="600"/>
                      </a:lnTo>
                      <a:lnTo>
                        <a:pt x="469" y="560"/>
                      </a:lnTo>
                      <a:lnTo>
                        <a:pt x="434" y="578"/>
                      </a:lnTo>
                      <a:lnTo>
                        <a:pt x="444" y="630"/>
                      </a:lnTo>
                      <a:lnTo>
                        <a:pt x="447" y="641"/>
                      </a:lnTo>
                      <a:lnTo>
                        <a:pt x="436" y="642"/>
                      </a:lnTo>
                      <a:lnTo>
                        <a:pt x="359" y="659"/>
                      </a:lnTo>
                      <a:lnTo>
                        <a:pt x="350" y="662"/>
                      </a:lnTo>
                      <a:lnTo>
                        <a:pt x="347" y="651"/>
                      </a:lnTo>
                      <a:lnTo>
                        <a:pt x="335" y="599"/>
                      </a:lnTo>
                      <a:lnTo>
                        <a:pt x="296" y="596"/>
                      </a:lnTo>
                      <a:lnTo>
                        <a:pt x="279" y="647"/>
                      </a:lnTo>
                      <a:lnTo>
                        <a:pt x="276" y="658"/>
                      </a:lnTo>
                      <a:lnTo>
                        <a:pt x="267" y="654"/>
                      </a:lnTo>
                      <a:lnTo>
                        <a:pt x="191" y="630"/>
                      </a:lnTo>
                      <a:lnTo>
                        <a:pt x="182" y="626"/>
                      </a:lnTo>
                      <a:lnTo>
                        <a:pt x="185" y="617"/>
                      </a:lnTo>
                      <a:lnTo>
                        <a:pt x="202" y="566"/>
                      </a:lnTo>
                      <a:lnTo>
                        <a:pt x="168" y="544"/>
                      </a:lnTo>
                      <a:lnTo>
                        <a:pt x="128" y="580"/>
                      </a:lnTo>
                      <a:lnTo>
                        <a:pt x="121" y="587"/>
                      </a:lnTo>
                      <a:lnTo>
                        <a:pt x="114" y="579"/>
                      </a:lnTo>
                      <a:lnTo>
                        <a:pt x="60" y="520"/>
                      </a:lnTo>
                      <a:lnTo>
                        <a:pt x="54" y="512"/>
                      </a:lnTo>
                      <a:lnTo>
                        <a:pt x="62" y="506"/>
                      </a:lnTo>
                      <a:lnTo>
                        <a:pt x="102" y="470"/>
                      </a:lnTo>
                      <a:lnTo>
                        <a:pt x="84" y="434"/>
                      </a:lnTo>
                      <a:lnTo>
                        <a:pt x="30" y="446"/>
                      </a:lnTo>
                      <a:lnTo>
                        <a:pt x="21" y="448"/>
                      </a:lnTo>
                      <a:lnTo>
                        <a:pt x="18" y="438"/>
                      </a:lnTo>
                      <a:lnTo>
                        <a:pt x="1" y="360"/>
                      </a:lnTo>
                      <a:lnTo>
                        <a:pt x="0" y="350"/>
                      </a:lnTo>
                      <a:lnTo>
                        <a:pt x="9" y="349"/>
                      </a:lnTo>
                      <a:lnTo>
                        <a:pt x="63" y="337"/>
                      </a:lnTo>
                      <a:lnTo>
                        <a:pt x="64" y="298"/>
                      </a:lnTo>
                      <a:lnTo>
                        <a:pt x="13" y="281"/>
                      </a:lnTo>
                      <a:lnTo>
                        <a:pt x="4" y="278"/>
                      </a:lnTo>
                      <a:lnTo>
                        <a:pt x="7" y="267"/>
                      </a:lnTo>
                      <a:lnTo>
                        <a:pt x="32" y="193"/>
                      </a:lnTo>
                      <a:lnTo>
                        <a:pt x="34" y="182"/>
                      </a:lnTo>
                      <a:lnTo>
                        <a:pt x="45" y="186"/>
                      </a:lnTo>
                      <a:lnTo>
                        <a:pt x="96" y="203"/>
                      </a:lnTo>
                      <a:lnTo>
                        <a:pt x="117" y="169"/>
                      </a:lnTo>
                      <a:lnTo>
                        <a:pt x="81" y="129"/>
                      </a:lnTo>
                      <a:lnTo>
                        <a:pt x="73" y="122"/>
                      </a:lnTo>
                      <a:lnTo>
                        <a:pt x="81" y="114"/>
                      </a:lnTo>
                      <a:lnTo>
                        <a:pt x="140" y="62"/>
                      </a:lnTo>
                      <a:lnTo>
                        <a:pt x="148" y="55"/>
                      </a:lnTo>
                      <a:lnTo>
                        <a:pt x="155" y="62"/>
                      </a:lnTo>
                      <a:lnTo>
                        <a:pt x="191" y="102"/>
                      </a:lnTo>
                      <a:lnTo>
                        <a:pt x="227" y="84"/>
                      </a:lnTo>
                      <a:lnTo>
                        <a:pt x="215" y="32"/>
                      </a:lnTo>
                      <a:lnTo>
                        <a:pt x="214" y="21"/>
                      </a:lnTo>
                      <a:lnTo>
                        <a:pt x="223" y="20"/>
                      </a:lnTo>
                      <a:lnTo>
                        <a:pt x="300" y="3"/>
                      </a:lnTo>
                      <a:lnTo>
                        <a:pt x="311" y="0"/>
                      </a:lnTo>
                      <a:close/>
                    </a:path>
                  </a:pathLst>
                </a:custGeom>
                <a:solidFill>
                  <a:srgbClr val="1BAE96"/>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s-ES"/>
                </a:p>
              </p:txBody>
            </p:sp>
            <p:sp>
              <p:nvSpPr>
                <p:cNvPr id="40" name="Freeform 197">
                  <a:extLst>
                    <a:ext uri="{FF2B5EF4-FFF2-40B4-BE49-F238E27FC236}">
                      <a16:creationId xmlns:a16="http://schemas.microsoft.com/office/drawing/2014/main" id="{04BE665D-7DC2-4856-860C-A5A92FD40DC4}"/>
                    </a:ext>
                  </a:extLst>
                </p:cNvPr>
                <p:cNvSpPr>
                  <a:spLocks noEditPoints="1"/>
                </p:cNvSpPr>
                <p:nvPr/>
              </p:nvSpPr>
              <p:spPr bwMode="auto">
                <a:xfrm>
                  <a:off x="2674910" y="1337818"/>
                  <a:ext cx="322263" cy="322297"/>
                </a:xfrm>
                <a:custGeom>
                  <a:avLst/>
                  <a:gdLst>
                    <a:gd name="T0" fmla="*/ 2147483646 w 232"/>
                    <a:gd name="T1" fmla="*/ 2147483646 h 232"/>
                    <a:gd name="T2" fmla="*/ 2147483646 w 232"/>
                    <a:gd name="T3" fmla="*/ 2147483646 h 232"/>
                    <a:gd name="T4" fmla="*/ 2147483646 w 232"/>
                    <a:gd name="T5" fmla="*/ 2147483646 h 232"/>
                    <a:gd name="T6" fmla="*/ 2147483646 w 232"/>
                    <a:gd name="T7" fmla="*/ 2147483646 h 232"/>
                    <a:gd name="T8" fmla="*/ 2147483646 w 232"/>
                    <a:gd name="T9" fmla="*/ 2147483646 h 232"/>
                    <a:gd name="T10" fmla="*/ 2147483646 w 232"/>
                    <a:gd name="T11" fmla="*/ 2147483646 h 232"/>
                    <a:gd name="T12" fmla="*/ 2147483646 w 232"/>
                    <a:gd name="T13" fmla="*/ 2147483646 h 232"/>
                    <a:gd name="T14" fmla="*/ 2147483646 w 232"/>
                    <a:gd name="T15" fmla="*/ 2147483646 h 232"/>
                    <a:gd name="T16" fmla="*/ 2147483646 w 232"/>
                    <a:gd name="T17" fmla="*/ 0 h 232"/>
                    <a:gd name="T18" fmla="*/ 2147483646 w 232"/>
                    <a:gd name="T19" fmla="*/ 2147483646 h 232"/>
                    <a:gd name="T20" fmla="*/ 2147483646 w 232"/>
                    <a:gd name="T21" fmla="*/ 2147483646 h 232"/>
                    <a:gd name="T22" fmla="*/ 2147483646 w 232"/>
                    <a:gd name="T23" fmla="*/ 2147483646 h 232"/>
                    <a:gd name="T24" fmla="*/ 2147483646 w 232"/>
                    <a:gd name="T25" fmla="*/ 2147483646 h 232"/>
                    <a:gd name="T26" fmla="*/ 2147483646 w 232"/>
                    <a:gd name="T27" fmla="*/ 2147483646 h 232"/>
                    <a:gd name="T28" fmla="*/ 2147483646 w 232"/>
                    <a:gd name="T29" fmla="*/ 2147483646 h 232"/>
                    <a:gd name="T30" fmla="*/ 2147483646 w 232"/>
                    <a:gd name="T31" fmla="*/ 2147483646 h 232"/>
                    <a:gd name="T32" fmla="*/ 2147483646 w 232"/>
                    <a:gd name="T33" fmla="*/ 2147483646 h 232"/>
                    <a:gd name="T34" fmla="*/ 2147483646 w 232"/>
                    <a:gd name="T35" fmla="*/ 2147483646 h 232"/>
                    <a:gd name="T36" fmla="*/ 2147483646 w 232"/>
                    <a:gd name="T37" fmla="*/ 2147483646 h 232"/>
                    <a:gd name="T38" fmla="*/ 2147483646 w 232"/>
                    <a:gd name="T39" fmla="*/ 2147483646 h 232"/>
                    <a:gd name="T40" fmla="*/ 2147483646 w 232"/>
                    <a:gd name="T41" fmla="*/ 2147483646 h 232"/>
                    <a:gd name="T42" fmla="*/ 2147483646 w 232"/>
                    <a:gd name="T43" fmla="*/ 2147483646 h 232"/>
                    <a:gd name="T44" fmla="*/ 2147483646 w 232"/>
                    <a:gd name="T45" fmla="*/ 2147483646 h 232"/>
                    <a:gd name="T46" fmla="*/ 2147483646 w 232"/>
                    <a:gd name="T47" fmla="*/ 2147483646 h 232"/>
                    <a:gd name="T48" fmla="*/ 2147483646 w 232"/>
                    <a:gd name="T49" fmla="*/ 2147483646 h 232"/>
                    <a:gd name="T50" fmla="*/ 2147483646 w 232"/>
                    <a:gd name="T51" fmla="*/ 2147483646 h 232"/>
                    <a:gd name="T52" fmla="*/ 2147483646 w 232"/>
                    <a:gd name="T53" fmla="*/ 2147483646 h 232"/>
                    <a:gd name="T54" fmla="*/ 2147483646 w 232"/>
                    <a:gd name="T55" fmla="*/ 2147483646 h 232"/>
                    <a:gd name="T56" fmla="*/ 2147483646 w 232"/>
                    <a:gd name="T57" fmla="*/ 2147483646 h 232"/>
                    <a:gd name="T58" fmla="*/ 2147483646 w 232"/>
                    <a:gd name="T59" fmla="*/ 2147483646 h 232"/>
                    <a:gd name="T60" fmla="*/ 2147483646 w 232"/>
                    <a:gd name="T61" fmla="*/ 2147483646 h 232"/>
                    <a:gd name="T62" fmla="*/ 2147483646 w 232"/>
                    <a:gd name="T63" fmla="*/ 2147483646 h 232"/>
                    <a:gd name="T64" fmla="*/ 2147483646 w 232"/>
                    <a:gd name="T65" fmla="*/ 2147483646 h 232"/>
                    <a:gd name="T66" fmla="*/ 2147483646 w 232"/>
                    <a:gd name="T67" fmla="*/ 2147483646 h 232"/>
                    <a:gd name="T68" fmla="*/ 2147483646 w 232"/>
                    <a:gd name="T69" fmla="*/ 2147483646 h 232"/>
                    <a:gd name="T70" fmla="*/ 2147483646 w 232"/>
                    <a:gd name="T71" fmla="*/ 2147483646 h 232"/>
                    <a:gd name="T72" fmla="*/ 2147483646 w 232"/>
                    <a:gd name="T73" fmla="*/ 2147483646 h 232"/>
                    <a:gd name="T74" fmla="*/ 2147483646 w 232"/>
                    <a:gd name="T75" fmla="*/ 2147483646 h 232"/>
                    <a:gd name="T76" fmla="*/ 2147483646 w 232"/>
                    <a:gd name="T77" fmla="*/ 2147483646 h 232"/>
                    <a:gd name="T78" fmla="*/ 2147483646 w 232"/>
                    <a:gd name="T79" fmla="*/ 2147483646 h 232"/>
                    <a:gd name="T80" fmla="*/ 2147483646 w 232"/>
                    <a:gd name="T81" fmla="*/ 2147483646 h 232"/>
                    <a:gd name="T82" fmla="*/ 2147483646 w 232"/>
                    <a:gd name="T83" fmla="*/ 2147483646 h 232"/>
                    <a:gd name="T84" fmla="*/ 2147483646 w 232"/>
                    <a:gd name="T85" fmla="*/ 2147483646 h 232"/>
                    <a:gd name="T86" fmla="*/ 2147483646 w 232"/>
                    <a:gd name="T87" fmla="*/ 2147483646 h 232"/>
                    <a:gd name="T88" fmla="*/ 2147483646 w 232"/>
                    <a:gd name="T89" fmla="*/ 2147483646 h 232"/>
                    <a:gd name="T90" fmla="*/ 2147483646 w 232"/>
                    <a:gd name="T91" fmla="*/ 2147483646 h 232"/>
                    <a:gd name="T92" fmla="*/ 2147483646 w 232"/>
                    <a:gd name="T93" fmla="*/ 2147483646 h 232"/>
                    <a:gd name="T94" fmla="*/ 0 w 232"/>
                    <a:gd name="T95" fmla="*/ 2147483646 h 232"/>
                    <a:gd name="T96" fmla="*/ 2147483646 w 232"/>
                    <a:gd name="T97" fmla="*/ 2147483646 h 232"/>
                    <a:gd name="T98" fmla="*/ 2147483646 w 232"/>
                    <a:gd name="T99" fmla="*/ 2147483646 h 232"/>
                    <a:gd name="T100" fmla="*/ 2147483646 w 232"/>
                    <a:gd name="T101" fmla="*/ 2147483646 h 232"/>
                    <a:gd name="T102" fmla="*/ 2147483646 w 232"/>
                    <a:gd name="T103" fmla="*/ 2147483646 h 232"/>
                    <a:gd name="T104" fmla="*/ 2147483646 w 232"/>
                    <a:gd name="T105" fmla="*/ 2147483646 h 232"/>
                    <a:gd name="T106" fmla="*/ 2147483646 w 232"/>
                    <a:gd name="T107" fmla="*/ 2147483646 h 232"/>
                    <a:gd name="T108" fmla="*/ 2147483646 w 232"/>
                    <a:gd name="T109" fmla="*/ 2147483646 h 232"/>
                    <a:gd name="T110" fmla="*/ 2147483646 w 232"/>
                    <a:gd name="T111" fmla="*/ 2147483646 h 232"/>
                    <a:gd name="T112" fmla="*/ 2147483646 w 232"/>
                    <a:gd name="T113" fmla="*/ 2147483646 h 232"/>
                    <a:gd name="T114" fmla="*/ 2147483646 w 232"/>
                    <a:gd name="T115" fmla="*/ 2147483646 h 232"/>
                    <a:gd name="T116" fmla="*/ 2147483646 w 232"/>
                    <a:gd name="T117" fmla="*/ 2147483646 h 232"/>
                    <a:gd name="T118" fmla="*/ 2147483646 w 232"/>
                    <a:gd name="T119" fmla="*/ 2147483646 h 232"/>
                    <a:gd name="T120" fmla="*/ 2147483646 w 232"/>
                    <a:gd name="T121" fmla="*/ 0 h 2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2"/>
                    <a:gd name="T184" fmla="*/ 0 h 232"/>
                    <a:gd name="T185" fmla="*/ 232 w 232"/>
                    <a:gd name="T186" fmla="*/ 232 h 2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2" h="232">
                      <a:moveTo>
                        <a:pt x="118" y="78"/>
                      </a:moveTo>
                      <a:lnTo>
                        <a:pt x="104" y="80"/>
                      </a:lnTo>
                      <a:lnTo>
                        <a:pt x="92" y="88"/>
                      </a:lnTo>
                      <a:lnTo>
                        <a:pt x="83" y="100"/>
                      </a:lnTo>
                      <a:lnTo>
                        <a:pt x="79" y="114"/>
                      </a:lnTo>
                      <a:lnTo>
                        <a:pt x="81" y="129"/>
                      </a:lnTo>
                      <a:lnTo>
                        <a:pt x="89" y="140"/>
                      </a:lnTo>
                      <a:lnTo>
                        <a:pt x="101" y="150"/>
                      </a:lnTo>
                      <a:lnTo>
                        <a:pt x="114" y="154"/>
                      </a:lnTo>
                      <a:lnTo>
                        <a:pt x="129" y="151"/>
                      </a:lnTo>
                      <a:lnTo>
                        <a:pt x="142" y="143"/>
                      </a:lnTo>
                      <a:lnTo>
                        <a:pt x="151" y="131"/>
                      </a:lnTo>
                      <a:lnTo>
                        <a:pt x="155" y="118"/>
                      </a:lnTo>
                      <a:lnTo>
                        <a:pt x="152" y="104"/>
                      </a:lnTo>
                      <a:lnTo>
                        <a:pt x="144" y="91"/>
                      </a:lnTo>
                      <a:lnTo>
                        <a:pt x="133" y="82"/>
                      </a:lnTo>
                      <a:lnTo>
                        <a:pt x="118" y="78"/>
                      </a:lnTo>
                      <a:close/>
                      <a:moveTo>
                        <a:pt x="110" y="0"/>
                      </a:moveTo>
                      <a:lnTo>
                        <a:pt x="110" y="3"/>
                      </a:lnTo>
                      <a:lnTo>
                        <a:pt x="114" y="21"/>
                      </a:lnTo>
                      <a:lnTo>
                        <a:pt x="129" y="23"/>
                      </a:lnTo>
                      <a:lnTo>
                        <a:pt x="134" y="4"/>
                      </a:lnTo>
                      <a:lnTo>
                        <a:pt x="135" y="2"/>
                      </a:lnTo>
                      <a:lnTo>
                        <a:pt x="139" y="2"/>
                      </a:lnTo>
                      <a:lnTo>
                        <a:pt x="165" y="11"/>
                      </a:lnTo>
                      <a:lnTo>
                        <a:pt x="169" y="12"/>
                      </a:lnTo>
                      <a:lnTo>
                        <a:pt x="168" y="15"/>
                      </a:lnTo>
                      <a:lnTo>
                        <a:pt x="161" y="33"/>
                      </a:lnTo>
                      <a:lnTo>
                        <a:pt x="168" y="37"/>
                      </a:lnTo>
                      <a:lnTo>
                        <a:pt x="173" y="41"/>
                      </a:lnTo>
                      <a:lnTo>
                        <a:pt x="188" y="28"/>
                      </a:lnTo>
                      <a:lnTo>
                        <a:pt x="190" y="25"/>
                      </a:lnTo>
                      <a:lnTo>
                        <a:pt x="193" y="29"/>
                      </a:lnTo>
                      <a:lnTo>
                        <a:pt x="211" y="49"/>
                      </a:lnTo>
                      <a:lnTo>
                        <a:pt x="214" y="51"/>
                      </a:lnTo>
                      <a:lnTo>
                        <a:pt x="211" y="54"/>
                      </a:lnTo>
                      <a:lnTo>
                        <a:pt x="197" y="67"/>
                      </a:lnTo>
                      <a:lnTo>
                        <a:pt x="201" y="74"/>
                      </a:lnTo>
                      <a:lnTo>
                        <a:pt x="203" y="79"/>
                      </a:lnTo>
                      <a:lnTo>
                        <a:pt x="222" y="75"/>
                      </a:lnTo>
                      <a:lnTo>
                        <a:pt x="226" y="75"/>
                      </a:lnTo>
                      <a:lnTo>
                        <a:pt x="226" y="78"/>
                      </a:lnTo>
                      <a:lnTo>
                        <a:pt x="232" y="105"/>
                      </a:lnTo>
                      <a:lnTo>
                        <a:pt x="232" y="109"/>
                      </a:lnTo>
                      <a:lnTo>
                        <a:pt x="229" y="109"/>
                      </a:lnTo>
                      <a:lnTo>
                        <a:pt x="211" y="113"/>
                      </a:lnTo>
                      <a:lnTo>
                        <a:pt x="210" y="127"/>
                      </a:lnTo>
                      <a:lnTo>
                        <a:pt x="228" y="134"/>
                      </a:lnTo>
                      <a:lnTo>
                        <a:pt x="231" y="134"/>
                      </a:lnTo>
                      <a:lnTo>
                        <a:pt x="231" y="138"/>
                      </a:lnTo>
                      <a:lnTo>
                        <a:pt x="222" y="164"/>
                      </a:lnTo>
                      <a:lnTo>
                        <a:pt x="220" y="168"/>
                      </a:lnTo>
                      <a:lnTo>
                        <a:pt x="218" y="167"/>
                      </a:lnTo>
                      <a:lnTo>
                        <a:pt x="199" y="160"/>
                      </a:lnTo>
                      <a:lnTo>
                        <a:pt x="195" y="167"/>
                      </a:lnTo>
                      <a:lnTo>
                        <a:pt x="191" y="172"/>
                      </a:lnTo>
                      <a:lnTo>
                        <a:pt x="205" y="186"/>
                      </a:lnTo>
                      <a:lnTo>
                        <a:pt x="206" y="189"/>
                      </a:lnTo>
                      <a:lnTo>
                        <a:pt x="203" y="192"/>
                      </a:lnTo>
                      <a:lnTo>
                        <a:pt x="184" y="210"/>
                      </a:lnTo>
                      <a:lnTo>
                        <a:pt x="181" y="212"/>
                      </a:lnTo>
                      <a:lnTo>
                        <a:pt x="178" y="210"/>
                      </a:lnTo>
                      <a:lnTo>
                        <a:pt x="165" y="195"/>
                      </a:lnTo>
                      <a:lnTo>
                        <a:pt x="159" y="199"/>
                      </a:lnTo>
                      <a:lnTo>
                        <a:pt x="153" y="202"/>
                      </a:lnTo>
                      <a:lnTo>
                        <a:pt x="157" y="220"/>
                      </a:lnTo>
                      <a:lnTo>
                        <a:pt x="157" y="224"/>
                      </a:lnTo>
                      <a:lnTo>
                        <a:pt x="155" y="226"/>
                      </a:lnTo>
                      <a:lnTo>
                        <a:pt x="127" y="231"/>
                      </a:lnTo>
                      <a:lnTo>
                        <a:pt x="123" y="232"/>
                      </a:lnTo>
                      <a:lnTo>
                        <a:pt x="123" y="228"/>
                      </a:lnTo>
                      <a:lnTo>
                        <a:pt x="119" y="210"/>
                      </a:lnTo>
                      <a:lnTo>
                        <a:pt x="105" y="209"/>
                      </a:lnTo>
                      <a:lnTo>
                        <a:pt x="98" y="227"/>
                      </a:lnTo>
                      <a:lnTo>
                        <a:pt x="98" y="231"/>
                      </a:lnTo>
                      <a:lnTo>
                        <a:pt x="95" y="229"/>
                      </a:lnTo>
                      <a:lnTo>
                        <a:pt x="68" y="220"/>
                      </a:lnTo>
                      <a:lnTo>
                        <a:pt x="64" y="219"/>
                      </a:lnTo>
                      <a:lnTo>
                        <a:pt x="66" y="216"/>
                      </a:lnTo>
                      <a:lnTo>
                        <a:pt x="72" y="198"/>
                      </a:lnTo>
                      <a:lnTo>
                        <a:pt x="66" y="194"/>
                      </a:lnTo>
                      <a:lnTo>
                        <a:pt x="60" y="190"/>
                      </a:lnTo>
                      <a:lnTo>
                        <a:pt x="46" y="203"/>
                      </a:lnTo>
                      <a:lnTo>
                        <a:pt x="43" y="206"/>
                      </a:lnTo>
                      <a:lnTo>
                        <a:pt x="41" y="203"/>
                      </a:lnTo>
                      <a:lnTo>
                        <a:pt x="22" y="182"/>
                      </a:lnTo>
                      <a:lnTo>
                        <a:pt x="20" y="180"/>
                      </a:lnTo>
                      <a:lnTo>
                        <a:pt x="22" y="177"/>
                      </a:lnTo>
                      <a:lnTo>
                        <a:pt x="37" y="164"/>
                      </a:lnTo>
                      <a:lnTo>
                        <a:pt x="33" y="159"/>
                      </a:lnTo>
                      <a:lnTo>
                        <a:pt x="30" y="152"/>
                      </a:lnTo>
                      <a:lnTo>
                        <a:pt x="12" y="156"/>
                      </a:lnTo>
                      <a:lnTo>
                        <a:pt x="8" y="156"/>
                      </a:lnTo>
                      <a:lnTo>
                        <a:pt x="7" y="154"/>
                      </a:lnTo>
                      <a:lnTo>
                        <a:pt x="2" y="126"/>
                      </a:lnTo>
                      <a:lnTo>
                        <a:pt x="0" y="122"/>
                      </a:lnTo>
                      <a:lnTo>
                        <a:pt x="4" y="122"/>
                      </a:lnTo>
                      <a:lnTo>
                        <a:pt x="22" y="118"/>
                      </a:lnTo>
                      <a:lnTo>
                        <a:pt x="24" y="104"/>
                      </a:lnTo>
                      <a:lnTo>
                        <a:pt x="5" y="99"/>
                      </a:lnTo>
                      <a:lnTo>
                        <a:pt x="2" y="97"/>
                      </a:lnTo>
                      <a:lnTo>
                        <a:pt x="3" y="93"/>
                      </a:lnTo>
                      <a:lnTo>
                        <a:pt x="12" y="67"/>
                      </a:lnTo>
                      <a:lnTo>
                        <a:pt x="13" y="63"/>
                      </a:lnTo>
                      <a:lnTo>
                        <a:pt x="16" y="64"/>
                      </a:lnTo>
                      <a:lnTo>
                        <a:pt x="34" y="71"/>
                      </a:lnTo>
                      <a:lnTo>
                        <a:pt x="38" y="64"/>
                      </a:lnTo>
                      <a:lnTo>
                        <a:pt x="42" y="59"/>
                      </a:lnTo>
                      <a:lnTo>
                        <a:pt x="29" y="45"/>
                      </a:lnTo>
                      <a:lnTo>
                        <a:pt x="26" y="42"/>
                      </a:lnTo>
                      <a:lnTo>
                        <a:pt x="29" y="40"/>
                      </a:lnTo>
                      <a:lnTo>
                        <a:pt x="50" y="21"/>
                      </a:lnTo>
                      <a:lnTo>
                        <a:pt x="53" y="19"/>
                      </a:lnTo>
                      <a:lnTo>
                        <a:pt x="55" y="21"/>
                      </a:lnTo>
                      <a:lnTo>
                        <a:pt x="68" y="36"/>
                      </a:lnTo>
                      <a:lnTo>
                        <a:pt x="74" y="32"/>
                      </a:lnTo>
                      <a:lnTo>
                        <a:pt x="80" y="29"/>
                      </a:lnTo>
                      <a:lnTo>
                        <a:pt x="76" y="11"/>
                      </a:lnTo>
                      <a:lnTo>
                        <a:pt x="76" y="7"/>
                      </a:lnTo>
                      <a:lnTo>
                        <a:pt x="79" y="7"/>
                      </a:lnTo>
                      <a:lnTo>
                        <a:pt x="106" y="0"/>
                      </a:lnTo>
                      <a:lnTo>
                        <a:pt x="110" y="0"/>
                      </a:lnTo>
                      <a:close/>
                    </a:path>
                  </a:pathLst>
                </a:custGeom>
                <a:solidFill>
                  <a:srgbClr val="F6AA32"/>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s-ES"/>
                </a:p>
              </p:txBody>
            </p:sp>
            <p:sp>
              <p:nvSpPr>
                <p:cNvPr id="41" name="Freeform 198">
                  <a:extLst>
                    <a:ext uri="{FF2B5EF4-FFF2-40B4-BE49-F238E27FC236}">
                      <a16:creationId xmlns:a16="http://schemas.microsoft.com/office/drawing/2014/main" id="{FDCFF852-1FAB-4CA9-B078-5491138CDDD6}"/>
                    </a:ext>
                  </a:extLst>
                </p:cNvPr>
                <p:cNvSpPr>
                  <a:spLocks noEditPoints="1"/>
                </p:cNvSpPr>
                <p:nvPr/>
              </p:nvSpPr>
              <p:spPr bwMode="auto">
                <a:xfrm>
                  <a:off x="1458885" y="642418"/>
                  <a:ext cx="252413" cy="250852"/>
                </a:xfrm>
                <a:custGeom>
                  <a:avLst/>
                  <a:gdLst>
                    <a:gd name="T0" fmla="*/ 2147483646 w 182"/>
                    <a:gd name="T1" fmla="*/ 2147483646 h 181"/>
                    <a:gd name="T2" fmla="*/ 2147483646 w 182"/>
                    <a:gd name="T3" fmla="*/ 2147483646 h 181"/>
                    <a:gd name="T4" fmla="*/ 2147483646 w 182"/>
                    <a:gd name="T5" fmla="*/ 2147483646 h 181"/>
                    <a:gd name="T6" fmla="*/ 2147483646 w 182"/>
                    <a:gd name="T7" fmla="*/ 2147483646 h 181"/>
                    <a:gd name="T8" fmla="*/ 2147483646 w 182"/>
                    <a:gd name="T9" fmla="*/ 2147483646 h 181"/>
                    <a:gd name="T10" fmla="*/ 2147483646 w 182"/>
                    <a:gd name="T11" fmla="*/ 2147483646 h 181"/>
                    <a:gd name="T12" fmla="*/ 2147483646 w 182"/>
                    <a:gd name="T13" fmla="*/ 2147483646 h 181"/>
                    <a:gd name="T14" fmla="*/ 2147483646 w 182"/>
                    <a:gd name="T15" fmla="*/ 2147483646 h 181"/>
                    <a:gd name="T16" fmla="*/ 2147483646 w 182"/>
                    <a:gd name="T17" fmla="*/ 0 h 181"/>
                    <a:gd name="T18" fmla="*/ 2147483646 w 182"/>
                    <a:gd name="T19" fmla="*/ 2147483646 h 181"/>
                    <a:gd name="T20" fmla="*/ 2147483646 w 182"/>
                    <a:gd name="T21" fmla="*/ 2147483646 h 181"/>
                    <a:gd name="T22" fmla="*/ 2147483646 w 182"/>
                    <a:gd name="T23" fmla="*/ 2147483646 h 181"/>
                    <a:gd name="T24" fmla="*/ 2147483646 w 182"/>
                    <a:gd name="T25" fmla="*/ 2147483646 h 181"/>
                    <a:gd name="T26" fmla="*/ 2147483646 w 182"/>
                    <a:gd name="T27" fmla="*/ 2147483646 h 181"/>
                    <a:gd name="T28" fmla="*/ 2147483646 w 182"/>
                    <a:gd name="T29" fmla="*/ 2147483646 h 181"/>
                    <a:gd name="T30" fmla="*/ 2147483646 w 182"/>
                    <a:gd name="T31" fmla="*/ 2147483646 h 181"/>
                    <a:gd name="T32" fmla="*/ 2147483646 w 182"/>
                    <a:gd name="T33" fmla="*/ 2147483646 h 181"/>
                    <a:gd name="T34" fmla="*/ 2147483646 w 182"/>
                    <a:gd name="T35" fmla="*/ 2147483646 h 181"/>
                    <a:gd name="T36" fmla="*/ 2147483646 w 182"/>
                    <a:gd name="T37" fmla="*/ 2147483646 h 181"/>
                    <a:gd name="T38" fmla="*/ 2147483646 w 182"/>
                    <a:gd name="T39" fmla="*/ 2147483646 h 181"/>
                    <a:gd name="T40" fmla="*/ 2147483646 w 182"/>
                    <a:gd name="T41" fmla="*/ 2147483646 h 181"/>
                    <a:gd name="T42" fmla="*/ 2147483646 w 182"/>
                    <a:gd name="T43" fmla="*/ 2147483646 h 181"/>
                    <a:gd name="T44" fmla="*/ 2147483646 w 182"/>
                    <a:gd name="T45" fmla="*/ 2147483646 h 181"/>
                    <a:gd name="T46" fmla="*/ 2147483646 w 182"/>
                    <a:gd name="T47" fmla="*/ 2147483646 h 181"/>
                    <a:gd name="T48" fmla="*/ 2147483646 w 182"/>
                    <a:gd name="T49" fmla="*/ 2147483646 h 181"/>
                    <a:gd name="T50" fmla="*/ 2147483646 w 182"/>
                    <a:gd name="T51" fmla="*/ 2147483646 h 181"/>
                    <a:gd name="T52" fmla="*/ 2147483646 w 182"/>
                    <a:gd name="T53" fmla="*/ 2147483646 h 181"/>
                    <a:gd name="T54" fmla="*/ 2147483646 w 182"/>
                    <a:gd name="T55" fmla="*/ 2147483646 h 181"/>
                    <a:gd name="T56" fmla="*/ 2147483646 w 182"/>
                    <a:gd name="T57" fmla="*/ 2147483646 h 181"/>
                    <a:gd name="T58" fmla="*/ 2147483646 w 182"/>
                    <a:gd name="T59" fmla="*/ 2147483646 h 181"/>
                    <a:gd name="T60" fmla="*/ 2147483646 w 182"/>
                    <a:gd name="T61" fmla="*/ 2147483646 h 181"/>
                    <a:gd name="T62" fmla="*/ 2147483646 w 182"/>
                    <a:gd name="T63" fmla="*/ 2147483646 h 181"/>
                    <a:gd name="T64" fmla="*/ 2147483646 w 182"/>
                    <a:gd name="T65" fmla="*/ 2147483646 h 181"/>
                    <a:gd name="T66" fmla="*/ 2147483646 w 182"/>
                    <a:gd name="T67" fmla="*/ 2147483646 h 181"/>
                    <a:gd name="T68" fmla="*/ 2147483646 w 182"/>
                    <a:gd name="T69" fmla="*/ 2147483646 h 181"/>
                    <a:gd name="T70" fmla="*/ 2147483646 w 182"/>
                    <a:gd name="T71" fmla="*/ 2147483646 h 181"/>
                    <a:gd name="T72" fmla="*/ 2147483646 w 182"/>
                    <a:gd name="T73" fmla="*/ 2147483646 h 181"/>
                    <a:gd name="T74" fmla="*/ 2147483646 w 182"/>
                    <a:gd name="T75" fmla="*/ 2147483646 h 181"/>
                    <a:gd name="T76" fmla="*/ 2147483646 w 182"/>
                    <a:gd name="T77" fmla="*/ 2147483646 h 181"/>
                    <a:gd name="T78" fmla="*/ 2147483646 w 182"/>
                    <a:gd name="T79" fmla="*/ 2147483646 h 181"/>
                    <a:gd name="T80" fmla="*/ 2147483646 w 182"/>
                    <a:gd name="T81" fmla="*/ 2147483646 h 181"/>
                    <a:gd name="T82" fmla="*/ 2147483646 w 182"/>
                    <a:gd name="T83" fmla="*/ 2147483646 h 181"/>
                    <a:gd name="T84" fmla="*/ 2147483646 w 182"/>
                    <a:gd name="T85" fmla="*/ 2147483646 h 181"/>
                    <a:gd name="T86" fmla="*/ 2147483646 w 182"/>
                    <a:gd name="T87" fmla="*/ 2147483646 h 181"/>
                    <a:gd name="T88" fmla="*/ 0 w 182"/>
                    <a:gd name="T89" fmla="*/ 2147483646 h 181"/>
                    <a:gd name="T90" fmla="*/ 2147483646 w 182"/>
                    <a:gd name="T91" fmla="*/ 2147483646 h 181"/>
                    <a:gd name="T92" fmla="*/ 2147483646 w 182"/>
                    <a:gd name="T93" fmla="*/ 2147483646 h 181"/>
                    <a:gd name="T94" fmla="*/ 2147483646 w 182"/>
                    <a:gd name="T95" fmla="*/ 2147483646 h 181"/>
                    <a:gd name="T96" fmla="*/ 2147483646 w 182"/>
                    <a:gd name="T97" fmla="*/ 2147483646 h 181"/>
                    <a:gd name="T98" fmla="*/ 2147483646 w 182"/>
                    <a:gd name="T99" fmla="*/ 2147483646 h 181"/>
                    <a:gd name="T100" fmla="*/ 2147483646 w 182"/>
                    <a:gd name="T101" fmla="*/ 2147483646 h 181"/>
                    <a:gd name="T102" fmla="*/ 2147483646 w 182"/>
                    <a:gd name="T103" fmla="*/ 2147483646 h 181"/>
                    <a:gd name="T104" fmla="*/ 2147483646 w 182"/>
                    <a:gd name="T105" fmla="*/ 2147483646 h 181"/>
                    <a:gd name="T106" fmla="*/ 2147483646 w 182"/>
                    <a:gd name="T107" fmla="*/ 2147483646 h 181"/>
                    <a:gd name="T108" fmla="*/ 2147483646 w 182"/>
                    <a:gd name="T109" fmla="*/ 2147483646 h 181"/>
                    <a:gd name="T110" fmla="*/ 2147483646 w 182"/>
                    <a:gd name="T111" fmla="*/ 2147483646 h 181"/>
                    <a:gd name="T112" fmla="*/ 2147483646 w 182"/>
                    <a:gd name="T113" fmla="*/ 0 h 18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82"/>
                    <a:gd name="T172" fmla="*/ 0 h 181"/>
                    <a:gd name="T173" fmla="*/ 182 w 182"/>
                    <a:gd name="T174" fmla="*/ 181 h 18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82" h="181">
                      <a:moveTo>
                        <a:pt x="93" y="60"/>
                      </a:moveTo>
                      <a:lnTo>
                        <a:pt x="81" y="63"/>
                      </a:lnTo>
                      <a:lnTo>
                        <a:pt x="71" y="68"/>
                      </a:lnTo>
                      <a:lnTo>
                        <a:pt x="64" y="77"/>
                      </a:lnTo>
                      <a:lnTo>
                        <a:pt x="61" y="89"/>
                      </a:lnTo>
                      <a:lnTo>
                        <a:pt x="63" y="100"/>
                      </a:lnTo>
                      <a:lnTo>
                        <a:pt x="69" y="110"/>
                      </a:lnTo>
                      <a:lnTo>
                        <a:pt x="78" y="117"/>
                      </a:lnTo>
                      <a:lnTo>
                        <a:pt x="89" y="119"/>
                      </a:lnTo>
                      <a:lnTo>
                        <a:pt x="101" y="118"/>
                      </a:lnTo>
                      <a:lnTo>
                        <a:pt x="111" y="113"/>
                      </a:lnTo>
                      <a:lnTo>
                        <a:pt x="118" y="102"/>
                      </a:lnTo>
                      <a:lnTo>
                        <a:pt x="120" y="92"/>
                      </a:lnTo>
                      <a:lnTo>
                        <a:pt x="119" y="80"/>
                      </a:lnTo>
                      <a:lnTo>
                        <a:pt x="113" y="71"/>
                      </a:lnTo>
                      <a:lnTo>
                        <a:pt x="103" y="63"/>
                      </a:lnTo>
                      <a:lnTo>
                        <a:pt x="93" y="60"/>
                      </a:lnTo>
                      <a:close/>
                      <a:moveTo>
                        <a:pt x="85" y="0"/>
                      </a:moveTo>
                      <a:lnTo>
                        <a:pt x="86" y="3"/>
                      </a:lnTo>
                      <a:lnTo>
                        <a:pt x="89" y="17"/>
                      </a:lnTo>
                      <a:lnTo>
                        <a:pt x="101" y="17"/>
                      </a:lnTo>
                      <a:lnTo>
                        <a:pt x="105" y="3"/>
                      </a:lnTo>
                      <a:lnTo>
                        <a:pt x="106" y="0"/>
                      </a:lnTo>
                      <a:lnTo>
                        <a:pt x="109" y="1"/>
                      </a:lnTo>
                      <a:lnTo>
                        <a:pt x="130" y="8"/>
                      </a:lnTo>
                      <a:lnTo>
                        <a:pt x="132" y="9"/>
                      </a:lnTo>
                      <a:lnTo>
                        <a:pt x="131" y="12"/>
                      </a:lnTo>
                      <a:lnTo>
                        <a:pt x="126" y="26"/>
                      </a:lnTo>
                      <a:lnTo>
                        <a:pt x="135" y="32"/>
                      </a:lnTo>
                      <a:lnTo>
                        <a:pt x="147" y="22"/>
                      </a:lnTo>
                      <a:lnTo>
                        <a:pt x="149" y="20"/>
                      </a:lnTo>
                      <a:lnTo>
                        <a:pt x="151" y="22"/>
                      </a:lnTo>
                      <a:lnTo>
                        <a:pt x="165" y="38"/>
                      </a:lnTo>
                      <a:lnTo>
                        <a:pt x="168" y="41"/>
                      </a:lnTo>
                      <a:lnTo>
                        <a:pt x="165" y="42"/>
                      </a:lnTo>
                      <a:lnTo>
                        <a:pt x="153" y="52"/>
                      </a:lnTo>
                      <a:lnTo>
                        <a:pt x="158" y="62"/>
                      </a:lnTo>
                      <a:lnTo>
                        <a:pt x="173" y="59"/>
                      </a:lnTo>
                      <a:lnTo>
                        <a:pt x="175" y="58"/>
                      </a:lnTo>
                      <a:lnTo>
                        <a:pt x="177" y="60"/>
                      </a:lnTo>
                      <a:lnTo>
                        <a:pt x="181" y="83"/>
                      </a:lnTo>
                      <a:lnTo>
                        <a:pt x="182" y="85"/>
                      </a:lnTo>
                      <a:lnTo>
                        <a:pt x="179" y="85"/>
                      </a:lnTo>
                      <a:lnTo>
                        <a:pt x="165" y="89"/>
                      </a:lnTo>
                      <a:lnTo>
                        <a:pt x="164" y="100"/>
                      </a:lnTo>
                      <a:lnTo>
                        <a:pt x="178" y="104"/>
                      </a:lnTo>
                      <a:lnTo>
                        <a:pt x="181" y="105"/>
                      </a:lnTo>
                      <a:lnTo>
                        <a:pt x="179" y="107"/>
                      </a:lnTo>
                      <a:lnTo>
                        <a:pt x="173" y="128"/>
                      </a:lnTo>
                      <a:lnTo>
                        <a:pt x="173" y="131"/>
                      </a:lnTo>
                      <a:lnTo>
                        <a:pt x="170" y="130"/>
                      </a:lnTo>
                      <a:lnTo>
                        <a:pt x="156" y="126"/>
                      </a:lnTo>
                      <a:lnTo>
                        <a:pt x="149" y="135"/>
                      </a:lnTo>
                      <a:lnTo>
                        <a:pt x="160" y="145"/>
                      </a:lnTo>
                      <a:lnTo>
                        <a:pt x="161" y="148"/>
                      </a:lnTo>
                      <a:lnTo>
                        <a:pt x="160" y="149"/>
                      </a:lnTo>
                      <a:lnTo>
                        <a:pt x="143" y="164"/>
                      </a:lnTo>
                      <a:lnTo>
                        <a:pt x="141" y="166"/>
                      </a:lnTo>
                      <a:lnTo>
                        <a:pt x="139" y="164"/>
                      </a:lnTo>
                      <a:lnTo>
                        <a:pt x="130" y="153"/>
                      </a:lnTo>
                      <a:lnTo>
                        <a:pt x="119" y="159"/>
                      </a:lnTo>
                      <a:lnTo>
                        <a:pt x="123" y="173"/>
                      </a:lnTo>
                      <a:lnTo>
                        <a:pt x="123" y="176"/>
                      </a:lnTo>
                      <a:lnTo>
                        <a:pt x="120" y="176"/>
                      </a:lnTo>
                      <a:lnTo>
                        <a:pt x="99" y="181"/>
                      </a:lnTo>
                      <a:lnTo>
                        <a:pt x="97" y="181"/>
                      </a:lnTo>
                      <a:lnTo>
                        <a:pt x="96" y="178"/>
                      </a:lnTo>
                      <a:lnTo>
                        <a:pt x="93" y="164"/>
                      </a:lnTo>
                      <a:lnTo>
                        <a:pt x="81" y="164"/>
                      </a:lnTo>
                      <a:lnTo>
                        <a:pt x="77" y="177"/>
                      </a:lnTo>
                      <a:lnTo>
                        <a:pt x="76" y="180"/>
                      </a:lnTo>
                      <a:lnTo>
                        <a:pt x="73" y="180"/>
                      </a:lnTo>
                      <a:lnTo>
                        <a:pt x="52" y="173"/>
                      </a:lnTo>
                      <a:lnTo>
                        <a:pt x="50" y="172"/>
                      </a:lnTo>
                      <a:lnTo>
                        <a:pt x="51" y="169"/>
                      </a:lnTo>
                      <a:lnTo>
                        <a:pt x="56" y="155"/>
                      </a:lnTo>
                      <a:lnTo>
                        <a:pt x="47" y="149"/>
                      </a:lnTo>
                      <a:lnTo>
                        <a:pt x="35" y="159"/>
                      </a:lnTo>
                      <a:lnTo>
                        <a:pt x="34" y="161"/>
                      </a:lnTo>
                      <a:lnTo>
                        <a:pt x="31" y="159"/>
                      </a:lnTo>
                      <a:lnTo>
                        <a:pt x="17" y="143"/>
                      </a:lnTo>
                      <a:lnTo>
                        <a:pt x="16" y="140"/>
                      </a:lnTo>
                      <a:lnTo>
                        <a:pt x="17" y="139"/>
                      </a:lnTo>
                      <a:lnTo>
                        <a:pt x="29" y="128"/>
                      </a:lnTo>
                      <a:lnTo>
                        <a:pt x="23" y="119"/>
                      </a:lnTo>
                      <a:lnTo>
                        <a:pt x="9" y="122"/>
                      </a:lnTo>
                      <a:lnTo>
                        <a:pt x="6" y="122"/>
                      </a:lnTo>
                      <a:lnTo>
                        <a:pt x="5" y="119"/>
                      </a:lnTo>
                      <a:lnTo>
                        <a:pt x="1" y="98"/>
                      </a:lnTo>
                      <a:lnTo>
                        <a:pt x="0" y="96"/>
                      </a:lnTo>
                      <a:lnTo>
                        <a:pt x="3" y="96"/>
                      </a:lnTo>
                      <a:lnTo>
                        <a:pt x="17" y="92"/>
                      </a:lnTo>
                      <a:lnTo>
                        <a:pt x="18" y="81"/>
                      </a:lnTo>
                      <a:lnTo>
                        <a:pt x="4" y="76"/>
                      </a:lnTo>
                      <a:lnTo>
                        <a:pt x="1" y="76"/>
                      </a:lnTo>
                      <a:lnTo>
                        <a:pt x="3" y="73"/>
                      </a:lnTo>
                      <a:lnTo>
                        <a:pt x="9" y="52"/>
                      </a:lnTo>
                      <a:lnTo>
                        <a:pt x="9" y="50"/>
                      </a:lnTo>
                      <a:lnTo>
                        <a:pt x="13" y="50"/>
                      </a:lnTo>
                      <a:lnTo>
                        <a:pt x="26" y="55"/>
                      </a:lnTo>
                      <a:lnTo>
                        <a:pt x="33" y="46"/>
                      </a:lnTo>
                      <a:lnTo>
                        <a:pt x="22" y="34"/>
                      </a:lnTo>
                      <a:lnTo>
                        <a:pt x="21" y="33"/>
                      </a:lnTo>
                      <a:lnTo>
                        <a:pt x="22" y="30"/>
                      </a:lnTo>
                      <a:lnTo>
                        <a:pt x="39" y="16"/>
                      </a:lnTo>
                      <a:lnTo>
                        <a:pt x="41" y="15"/>
                      </a:lnTo>
                      <a:lnTo>
                        <a:pt x="43" y="16"/>
                      </a:lnTo>
                      <a:lnTo>
                        <a:pt x="52" y="28"/>
                      </a:lnTo>
                      <a:lnTo>
                        <a:pt x="63" y="22"/>
                      </a:lnTo>
                      <a:lnTo>
                        <a:pt x="59" y="8"/>
                      </a:lnTo>
                      <a:lnTo>
                        <a:pt x="59" y="5"/>
                      </a:lnTo>
                      <a:lnTo>
                        <a:pt x="61" y="4"/>
                      </a:lnTo>
                      <a:lnTo>
                        <a:pt x="82" y="0"/>
                      </a:lnTo>
                      <a:lnTo>
                        <a:pt x="85" y="0"/>
                      </a:lnTo>
                      <a:close/>
                    </a:path>
                  </a:pathLst>
                </a:custGeom>
                <a:solidFill>
                  <a:srgbClr val="9F3D34"/>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s-ES"/>
                </a:p>
              </p:txBody>
            </p:sp>
            <p:sp>
              <p:nvSpPr>
                <p:cNvPr id="42" name="Freeform 199">
                  <a:extLst>
                    <a:ext uri="{FF2B5EF4-FFF2-40B4-BE49-F238E27FC236}">
                      <a16:creationId xmlns:a16="http://schemas.microsoft.com/office/drawing/2014/main" id="{828889E8-5193-41D2-9FA9-A7B5CCCA5B0D}"/>
                    </a:ext>
                  </a:extLst>
                </p:cNvPr>
                <p:cNvSpPr>
                  <a:spLocks noEditPoints="1"/>
                </p:cNvSpPr>
                <p:nvPr/>
              </p:nvSpPr>
              <p:spPr bwMode="auto">
                <a:xfrm>
                  <a:off x="1422373" y="3416081"/>
                  <a:ext cx="371475" cy="369928"/>
                </a:xfrm>
                <a:custGeom>
                  <a:avLst/>
                  <a:gdLst>
                    <a:gd name="T0" fmla="*/ 119 w 267"/>
                    <a:gd name="T1" fmla="*/ 91 h 266"/>
                    <a:gd name="T2" fmla="*/ 94 w 267"/>
                    <a:gd name="T3" fmla="*/ 114 h 266"/>
                    <a:gd name="T4" fmla="*/ 93 w 267"/>
                    <a:gd name="T5" fmla="*/ 146 h 266"/>
                    <a:gd name="T6" fmla="*/ 115 w 267"/>
                    <a:gd name="T7" fmla="*/ 171 h 266"/>
                    <a:gd name="T8" fmla="*/ 148 w 267"/>
                    <a:gd name="T9" fmla="*/ 174 h 266"/>
                    <a:gd name="T10" fmla="*/ 173 w 267"/>
                    <a:gd name="T11" fmla="*/ 150 h 266"/>
                    <a:gd name="T12" fmla="*/ 175 w 267"/>
                    <a:gd name="T13" fmla="*/ 118 h 266"/>
                    <a:gd name="T14" fmla="*/ 152 w 267"/>
                    <a:gd name="T15" fmla="*/ 93 h 266"/>
                    <a:gd name="T16" fmla="*/ 125 w 267"/>
                    <a:gd name="T17" fmla="*/ 0 h 266"/>
                    <a:gd name="T18" fmla="*/ 131 w 267"/>
                    <a:gd name="T19" fmla="*/ 25 h 266"/>
                    <a:gd name="T20" fmla="*/ 148 w 267"/>
                    <a:gd name="T21" fmla="*/ 25 h 266"/>
                    <a:gd name="T22" fmla="*/ 156 w 267"/>
                    <a:gd name="T23" fmla="*/ 1 h 266"/>
                    <a:gd name="T24" fmla="*/ 190 w 267"/>
                    <a:gd name="T25" fmla="*/ 12 h 266"/>
                    <a:gd name="T26" fmla="*/ 192 w 267"/>
                    <a:gd name="T27" fmla="*/ 17 h 266"/>
                    <a:gd name="T28" fmla="*/ 192 w 267"/>
                    <a:gd name="T29" fmla="*/ 42 h 266"/>
                    <a:gd name="T30" fmla="*/ 215 w 267"/>
                    <a:gd name="T31" fmla="*/ 33 h 266"/>
                    <a:gd name="T32" fmla="*/ 221 w 267"/>
                    <a:gd name="T33" fmla="*/ 33 h 266"/>
                    <a:gd name="T34" fmla="*/ 245 w 267"/>
                    <a:gd name="T35" fmla="*/ 59 h 266"/>
                    <a:gd name="T36" fmla="*/ 226 w 267"/>
                    <a:gd name="T37" fmla="*/ 76 h 266"/>
                    <a:gd name="T38" fmla="*/ 233 w 267"/>
                    <a:gd name="T39" fmla="*/ 90 h 266"/>
                    <a:gd name="T40" fmla="*/ 259 w 267"/>
                    <a:gd name="T41" fmla="*/ 85 h 266"/>
                    <a:gd name="T42" fmla="*/ 266 w 267"/>
                    <a:gd name="T43" fmla="*/ 120 h 266"/>
                    <a:gd name="T44" fmla="*/ 263 w 267"/>
                    <a:gd name="T45" fmla="*/ 125 h 266"/>
                    <a:gd name="T46" fmla="*/ 242 w 267"/>
                    <a:gd name="T47" fmla="*/ 139 h 266"/>
                    <a:gd name="T48" fmla="*/ 262 w 267"/>
                    <a:gd name="T49" fmla="*/ 153 h 266"/>
                    <a:gd name="T50" fmla="*/ 264 w 267"/>
                    <a:gd name="T51" fmla="*/ 158 h 266"/>
                    <a:gd name="T52" fmla="*/ 253 w 267"/>
                    <a:gd name="T53" fmla="*/ 192 h 266"/>
                    <a:gd name="T54" fmla="*/ 229 w 267"/>
                    <a:gd name="T55" fmla="*/ 184 h 266"/>
                    <a:gd name="T56" fmla="*/ 220 w 267"/>
                    <a:gd name="T57" fmla="*/ 197 h 266"/>
                    <a:gd name="T58" fmla="*/ 237 w 267"/>
                    <a:gd name="T59" fmla="*/ 217 h 266"/>
                    <a:gd name="T60" fmla="*/ 211 w 267"/>
                    <a:gd name="T61" fmla="*/ 241 h 266"/>
                    <a:gd name="T62" fmla="*/ 204 w 267"/>
                    <a:gd name="T63" fmla="*/ 241 h 266"/>
                    <a:gd name="T64" fmla="*/ 183 w 267"/>
                    <a:gd name="T65" fmla="*/ 229 h 266"/>
                    <a:gd name="T66" fmla="*/ 180 w 267"/>
                    <a:gd name="T67" fmla="*/ 254 h 266"/>
                    <a:gd name="T68" fmla="*/ 177 w 267"/>
                    <a:gd name="T69" fmla="*/ 258 h 266"/>
                    <a:gd name="T70" fmla="*/ 141 w 267"/>
                    <a:gd name="T71" fmla="*/ 266 h 266"/>
                    <a:gd name="T72" fmla="*/ 136 w 267"/>
                    <a:gd name="T73" fmla="*/ 241 h 266"/>
                    <a:gd name="T74" fmla="*/ 120 w 267"/>
                    <a:gd name="T75" fmla="*/ 239 h 266"/>
                    <a:gd name="T76" fmla="*/ 112 w 267"/>
                    <a:gd name="T77" fmla="*/ 264 h 266"/>
                    <a:gd name="T78" fmla="*/ 78 w 267"/>
                    <a:gd name="T79" fmla="*/ 252 h 266"/>
                    <a:gd name="T80" fmla="*/ 76 w 267"/>
                    <a:gd name="T81" fmla="*/ 247 h 266"/>
                    <a:gd name="T82" fmla="*/ 74 w 267"/>
                    <a:gd name="T83" fmla="*/ 222 h 266"/>
                    <a:gd name="T84" fmla="*/ 52 w 267"/>
                    <a:gd name="T85" fmla="*/ 233 h 266"/>
                    <a:gd name="T86" fmla="*/ 47 w 267"/>
                    <a:gd name="T87" fmla="*/ 233 h 266"/>
                    <a:gd name="T88" fmla="*/ 22 w 267"/>
                    <a:gd name="T89" fmla="*/ 205 h 266"/>
                    <a:gd name="T90" fmla="*/ 42 w 267"/>
                    <a:gd name="T91" fmla="*/ 188 h 266"/>
                    <a:gd name="T92" fmla="*/ 34 w 267"/>
                    <a:gd name="T93" fmla="*/ 174 h 266"/>
                    <a:gd name="T94" fmla="*/ 9 w 267"/>
                    <a:gd name="T95" fmla="*/ 179 h 266"/>
                    <a:gd name="T96" fmla="*/ 1 w 267"/>
                    <a:gd name="T97" fmla="*/ 144 h 266"/>
                    <a:gd name="T98" fmla="*/ 5 w 267"/>
                    <a:gd name="T99" fmla="*/ 140 h 266"/>
                    <a:gd name="T100" fmla="*/ 26 w 267"/>
                    <a:gd name="T101" fmla="*/ 127 h 266"/>
                    <a:gd name="T102" fmla="*/ 6 w 267"/>
                    <a:gd name="T103" fmla="*/ 112 h 266"/>
                    <a:gd name="T104" fmla="*/ 4 w 267"/>
                    <a:gd name="T105" fmla="*/ 107 h 266"/>
                    <a:gd name="T106" fmla="*/ 14 w 267"/>
                    <a:gd name="T107" fmla="*/ 73 h 266"/>
                    <a:gd name="T108" fmla="*/ 39 w 267"/>
                    <a:gd name="T109" fmla="*/ 81 h 266"/>
                    <a:gd name="T110" fmla="*/ 48 w 267"/>
                    <a:gd name="T111" fmla="*/ 67 h 266"/>
                    <a:gd name="T112" fmla="*/ 30 w 267"/>
                    <a:gd name="T113" fmla="*/ 48 h 266"/>
                    <a:gd name="T114" fmla="*/ 57 w 267"/>
                    <a:gd name="T115" fmla="*/ 23 h 266"/>
                    <a:gd name="T116" fmla="*/ 63 w 267"/>
                    <a:gd name="T117" fmla="*/ 23 h 266"/>
                    <a:gd name="T118" fmla="*/ 85 w 267"/>
                    <a:gd name="T119" fmla="*/ 36 h 266"/>
                    <a:gd name="T120" fmla="*/ 87 w 267"/>
                    <a:gd name="T121" fmla="*/ 12 h 266"/>
                    <a:gd name="T122" fmla="*/ 90 w 267"/>
                    <a:gd name="T123" fmla="*/ 6 h 266"/>
                    <a:gd name="T124" fmla="*/ 125 w 267"/>
                    <a:gd name="T125"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7" h="266">
                      <a:moveTo>
                        <a:pt x="136" y="89"/>
                      </a:moveTo>
                      <a:lnTo>
                        <a:pt x="119" y="91"/>
                      </a:lnTo>
                      <a:lnTo>
                        <a:pt x="104" y="101"/>
                      </a:lnTo>
                      <a:lnTo>
                        <a:pt x="94" y="114"/>
                      </a:lnTo>
                      <a:lnTo>
                        <a:pt x="90" y="131"/>
                      </a:lnTo>
                      <a:lnTo>
                        <a:pt x="93" y="146"/>
                      </a:lnTo>
                      <a:lnTo>
                        <a:pt x="102" y="161"/>
                      </a:lnTo>
                      <a:lnTo>
                        <a:pt x="115" y="171"/>
                      </a:lnTo>
                      <a:lnTo>
                        <a:pt x="132" y="175"/>
                      </a:lnTo>
                      <a:lnTo>
                        <a:pt x="148" y="174"/>
                      </a:lnTo>
                      <a:lnTo>
                        <a:pt x="162" y="165"/>
                      </a:lnTo>
                      <a:lnTo>
                        <a:pt x="173" y="150"/>
                      </a:lnTo>
                      <a:lnTo>
                        <a:pt x="177" y="135"/>
                      </a:lnTo>
                      <a:lnTo>
                        <a:pt x="175" y="118"/>
                      </a:lnTo>
                      <a:lnTo>
                        <a:pt x="166" y="103"/>
                      </a:lnTo>
                      <a:lnTo>
                        <a:pt x="152" y="93"/>
                      </a:lnTo>
                      <a:lnTo>
                        <a:pt x="136" y="89"/>
                      </a:lnTo>
                      <a:close/>
                      <a:moveTo>
                        <a:pt x="125" y="0"/>
                      </a:moveTo>
                      <a:lnTo>
                        <a:pt x="127" y="4"/>
                      </a:lnTo>
                      <a:lnTo>
                        <a:pt x="131" y="25"/>
                      </a:lnTo>
                      <a:lnTo>
                        <a:pt x="140" y="25"/>
                      </a:lnTo>
                      <a:lnTo>
                        <a:pt x="148" y="25"/>
                      </a:lnTo>
                      <a:lnTo>
                        <a:pt x="154" y="5"/>
                      </a:lnTo>
                      <a:lnTo>
                        <a:pt x="156" y="1"/>
                      </a:lnTo>
                      <a:lnTo>
                        <a:pt x="160" y="2"/>
                      </a:lnTo>
                      <a:lnTo>
                        <a:pt x="190" y="12"/>
                      </a:lnTo>
                      <a:lnTo>
                        <a:pt x="194" y="13"/>
                      </a:lnTo>
                      <a:lnTo>
                        <a:pt x="192" y="17"/>
                      </a:lnTo>
                      <a:lnTo>
                        <a:pt x="186" y="38"/>
                      </a:lnTo>
                      <a:lnTo>
                        <a:pt x="192" y="42"/>
                      </a:lnTo>
                      <a:lnTo>
                        <a:pt x="199" y="47"/>
                      </a:lnTo>
                      <a:lnTo>
                        <a:pt x="215" y="33"/>
                      </a:lnTo>
                      <a:lnTo>
                        <a:pt x="218" y="29"/>
                      </a:lnTo>
                      <a:lnTo>
                        <a:pt x="221" y="33"/>
                      </a:lnTo>
                      <a:lnTo>
                        <a:pt x="242" y="56"/>
                      </a:lnTo>
                      <a:lnTo>
                        <a:pt x="245" y="59"/>
                      </a:lnTo>
                      <a:lnTo>
                        <a:pt x="242" y="61"/>
                      </a:lnTo>
                      <a:lnTo>
                        <a:pt x="226" y="76"/>
                      </a:lnTo>
                      <a:lnTo>
                        <a:pt x="230" y="84"/>
                      </a:lnTo>
                      <a:lnTo>
                        <a:pt x="233" y="90"/>
                      </a:lnTo>
                      <a:lnTo>
                        <a:pt x="255" y="86"/>
                      </a:lnTo>
                      <a:lnTo>
                        <a:pt x="259" y="85"/>
                      </a:lnTo>
                      <a:lnTo>
                        <a:pt x="259" y="89"/>
                      </a:lnTo>
                      <a:lnTo>
                        <a:pt x="266" y="120"/>
                      </a:lnTo>
                      <a:lnTo>
                        <a:pt x="267" y="124"/>
                      </a:lnTo>
                      <a:lnTo>
                        <a:pt x="263" y="125"/>
                      </a:lnTo>
                      <a:lnTo>
                        <a:pt x="242" y="129"/>
                      </a:lnTo>
                      <a:lnTo>
                        <a:pt x="242" y="139"/>
                      </a:lnTo>
                      <a:lnTo>
                        <a:pt x="241" y="146"/>
                      </a:lnTo>
                      <a:lnTo>
                        <a:pt x="262" y="153"/>
                      </a:lnTo>
                      <a:lnTo>
                        <a:pt x="266" y="154"/>
                      </a:lnTo>
                      <a:lnTo>
                        <a:pt x="264" y="158"/>
                      </a:lnTo>
                      <a:lnTo>
                        <a:pt x="254" y="188"/>
                      </a:lnTo>
                      <a:lnTo>
                        <a:pt x="253" y="192"/>
                      </a:lnTo>
                      <a:lnTo>
                        <a:pt x="249" y="191"/>
                      </a:lnTo>
                      <a:lnTo>
                        <a:pt x="229" y="184"/>
                      </a:lnTo>
                      <a:lnTo>
                        <a:pt x="224" y="191"/>
                      </a:lnTo>
                      <a:lnTo>
                        <a:pt x="220" y="197"/>
                      </a:lnTo>
                      <a:lnTo>
                        <a:pt x="234" y="215"/>
                      </a:lnTo>
                      <a:lnTo>
                        <a:pt x="237" y="217"/>
                      </a:lnTo>
                      <a:lnTo>
                        <a:pt x="234" y="220"/>
                      </a:lnTo>
                      <a:lnTo>
                        <a:pt x="211" y="241"/>
                      </a:lnTo>
                      <a:lnTo>
                        <a:pt x="207" y="243"/>
                      </a:lnTo>
                      <a:lnTo>
                        <a:pt x="204" y="241"/>
                      </a:lnTo>
                      <a:lnTo>
                        <a:pt x="190" y="225"/>
                      </a:lnTo>
                      <a:lnTo>
                        <a:pt x="183" y="229"/>
                      </a:lnTo>
                      <a:lnTo>
                        <a:pt x="175" y="232"/>
                      </a:lnTo>
                      <a:lnTo>
                        <a:pt x="180" y="254"/>
                      </a:lnTo>
                      <a:lnTo>
                        <a:pt x="180" y="258"/>
                      </a:lnTo>
                      <a:lnTo>
                        <a:pt x="177" y="258"/>
                      </a:lnTo>
                      <a:lnTo>
                        <a:pt x="145" y="264"/>
                      </a:lnTo>
                      <a:lnTo>
                        <a:pt x="141" y="266"/>
                      </a:lnTo>
                      <a:lnTo>
                        <a:pt x="141" y="262"/>
                      </a:lnTo>
                      <a:lnTo>
                        <a:pt x="136" y="241"/>
                      </a:lnTo>
                      <a:lnTo>
                        <a:pt x="128" y="241"/>
                      </a:lnTo>
                      <a:lnTo>
                        <a:pt x="120" y="239"/>
                      </a:lnTo>
                      <a:lnTo>
                        <a:pt x="114" y="260"/>
                      </a:lnTo>
                      <a:lnTo>
                        <a:pt x="112" y="264"/>
                      </a:lnTo>
                      <a:lnTo>
                        <a:pt x="108" y="263"/>
                      </a:lnTo>
                      <a:lnTo>
                        <a:pt x="78" y="252"/>
                      </a:lnTo>
                      <a:lnTo>
                        <a:pt x="74" y="251"/>
                      </a:lnTo>
                      <a:lnTo>
                        <a:pt x="76" y="247"/>
                      </a:lnTo>
                      <a:lnTo>
                        <a:pt x="82" y="228"/>
                      </a:lnTo>
                      <a:lnTo>
                        <a:pt x="74" y="222"/>
                      </a:lnTo>
                      <a:lnTo>
                        <a:pt x="68" y="218"/>
                      </a:lnTo>
                      <a:lnTo>
                        <a:pt x="52" y="233"/>
                      </a:lnTo>
                      <a:lnTo>
                        <a:pt x="49" y="235"/>
                      </a:lnTo>
                      <a:lnTo>
                        <a:pt x="47" y="233"/>
                      </a:lnTo>
                      <a:lnTo>
                        <a:pt x="25" y="209"/>
                      </a:lnTo>
                      <a:lnTo>
                        <a:pt x="22" y="205"/>
                      </a:lnTo>
                      <a:lnTo>
                        <a:pt x="25" y="203"/>
                      </a:lnTo>
                      <a:lnTo>
                        <a:pt x="42" y="188"/>
                      </a:lnTo>
                      <a:lnTo>
                        <a:pt x="38" y="182"/>
                      </a:lnTo>
                      <a:lnTo>
                        <a:pt x="34" y="174"/>
                      </a:lnTo>
                      <a:lnTo>
                        <a:pt x="13" y="179"/>
                      </a:lnTo>
                      <a:lnTo>
                        <a:pt x="9" y="179"/>
                      </a:lnTo>
                      <a:lnTo>
                        <a:pt x="8" y="175"/>
                      </a:lnTo>
                      <a:lnTo>
                        <a:pt x="1" y="144"/>
                      </a:lnTo>
                      <a:lnTo>
                        <a:pt x="0" y="140"/>
                      </a:lnTo>
                      <a:lnTo>
                        <a:pt x="5" y="140"/>
                      </a:lnTo>
                      <a:lnTo>
                        <a:pt x="26" y="135"/>
                      </a:lnTo>
                      <a:lnTo>
                        <a:pt x="26" y="127"/>
                      </a:lnTo>
                      <a:lnTo>
                        <a:pt x="26" y="119"/>
                      </a:lnTo>
                      <a:lnTo>
                        <a:pt x="6" y="112"/>
                      </a:lnTo>
                      <a:lnTo>
                        <a:pt x="2" y="111"/>
                      </a:lnTo>
                      <a:lnTo>
                        <a:pt x="4" y="107"/>
                      </a:lnTo>
                      <a:lnTo>
                        <a:pt x="13" y="77"/>
                      </a:lnTo>
                      <a:lnTo>
                        <a:pt x="14" y="73"/>
                      </a:lnTo>
                      <a:lnTo>
                        <a:pt x="18" y="74"/>
                      </a:lnTo>
                      <a:lnTo>
                        <a:pt x="39" y="81"/>
                      </a:lnTo>
                      <a:lnTo>
                        <a:pt x="43" y="73"/>
                      </a:lnTo>
                      <a:lnTo>
                        <a:pt x="48" y="67"/>
                      </a:lnTo>
                      <a:lnTo>
                        <a:pt x="32" y="51"/>
                      </a:lnTo>
                      <a:lnTo>
                        <a:pt x="30" y="48"/>
                      </a:lnTo>
                      <a:lnTo>
                        <a:pt x="34" y="46"/>
                      </a:lnTo>
                      <a:lnTo>
                        <a:pt x="57" y="23"/>
                      </a:lnTo>
                      <a:lnTo>
                        <a:pt x="60" y="21"/>
                      </a:lnTo>
                      <a:lnTo>
                        <a:pt x="63" y="23"/>
                      </a:lnTo>
                      <a:lnTo>
                        <a:pt x="77" y="40"/>
                      </a:lnTo>
                      <a:lnTo>
                        <a:pt x="85" y="36"/>
                      </a:lnTo>
                      <a:lnTo>
                        <a:pt x="91" y="33"/>
                      </a:lnTo>
                      <a:lnTo>
                        <a:pt x="87" y="12"/>
                      </a:lnTo>
                      <a:lnTo>
                        <a:pt x="86" y="8"/>
                      </a:lnTo>
                      <a:lnTo>
                        <a:pt x="90" y="6"/>
                      </a:lnTo>
                      <a:lnTo>
                        <a:pt x="122" y="0"/>
                      </a:lnTo>
                      <a:lnTo>
                        <a:pt x="125" y="0"/>
                      </a:lnTo>
                      <a:close/>
                    </a:path>
                  </a:pathLst>
                </a:custGeom>
                <a:solidFill>
                  <a:srgbClr val="1BAE96"/>
                </a:solidFill>
                <a:ln w="0">
                  <a:noFill/>
                  <a:prstDash val="solid"/>
                  <a:round/>
                  <a:headEnd/>
                  <a:tailEnd/>
                </a:ln>
              </p:spPr>
              <p:txBody>
                <a:bodyPr/>
                <a:lstStyle/>
                <a:p>
                  <a:pPr eaLnBrk="1" fontAlgn="auto" hangingPunct="1">
                    <a:spcBef>
                      <a:spcPts val="0"/>
                    </a:spcBef>
                    <a:spcAft>
                      <a:spcPts val="0"/>
                    </a:spcAft>
                    <a:defRPr/>
                  </a:pPr>
                  <a:endParaRPr lang="en-US" dirty="0">
                    <a:latin typeface="+mn-lt"/>
                    <a:cs typeface="+mn-cs"/>
                  </a:endParaRPr>
                </a:p>
              </p:txBody>
            </p:sp>
            <p:sp>
              <p:nvSpPr>
                <p:cNvPr id="43" name="Freeform 200">
                  <a:extLst>
                    <a:ext uri="{FF2B5EF4-FFF2-40B4-BE49-F238E27FC236}">
                      <a16:creationId xmlns:a16="http://schemas.microsoft.com/office/drawing/2014/main" id="{F5C8136D-A4A5-46B8-86FD-03E83CFC039D}"/>
                    </a:ext>
                  </a:extLst>
                </p:cNvPr>
                <p:cNvSpPr>
                  <a:spLocks noEditPoints="1"/>
                </p:cNvSpPr>
                <p:nvPr/>
              </p:nvSpPr>
              <p:spPr bwMode="auto">
                <a:xfrm>
                  <a:off x="969935" y="2765135"/>
                  <a:ext cx="368300" cy="369928"/>
                </a:xfrm>
                <a:custGeom>
                  <a:avLst/>
                  <a:gdLst>
                    <a:gd name="T0" fmla="*/ 119 w 265"/>
                    <a:gd name="T1" fmla="*/ 93 h 267"/>
                    <a:gd name="T2" fmla="*/ 94 w 265"/>
                    <a:gd name="T3" fmla="*/ 115 h 267"/>
                    <a:gd name="T4" fmla="*/ 91 w 265"/>
                    <a:gd name="T5" fmla="*/ 148 h 267"/>
                    <a:gd name="T6" fmla="*/ 115 w 265"/>
                    <a:gd name="T7" fmla="*/ 173 h 267"/>
                    <a:gd name="T8" fmla="*/ 148 w 265"/>
                    <a:gd name="T9" fmla="*/ 174 h 267"/>
                    <a:gd name="T10" fmla="*/ 172 w 265"/>
                    <a:gd name="T11" fmla="*/ 152 h 267"/>
                    <a:gd name="T12" fmla="*/ 174 w 265"/>
                    <a:gd name="T13" fmla="*/ 119 h 267"/>
                    <a:gd name="T14" fmla="*/ 151 w 265"/>
                    <a:gd name="T15" fmla="*/ 94 h 267"/>
                    <a:gd name="T16" fmla="*/ 125 w 265"/>
                    <a:gd name="T17" fmla="*/ 0 h 267"/>
                    <a:gd name="T18" fmla="*/ 131 w 265"/>
                    <a:gd name="T19" fmla="*/ 26 h 267"/>
                    <a:gd name="T20" fmla="*/ 146 w 265"/>
                    <a:gd name="T21" fmla="*/ 26 h 267"/>
                    <a:gd name="T22" fmla="*/ 154 w 265"/>
                    <a:gd name="T23" fmla="*/ 1 h 267"/>
                    <a:gd name="T24" fmla="*/ 188 w 265"/>
                    <a:gd name="T25" fmla="*/ 13 h 267"/>
                    <a:gd name="T26" fmla="*/ 191 w 265"/>
                    <a:gd name="T27" fmla="*/ 18 h 267"/>
                    <a:gd name="T28" fmla="*/ 191 w 265"/>
                    <a:gd name="T29" fmla="*/ 43 h 267"/>
                    <a:gd name="T30" fmla="*/ 214 w 265"/>
                    <a:gd name="T31" fmla="*/ 33 h 267"/>
                    <a:gd name="T32" fmla="*/ 220 w 265"/>
                    <a:gd name="T33" fmla="*/ 33 h 267"/>
                    <a:gd name="T34" fmla="*/ 244 w 265"/>
                    <a:gd name="T35" fmla="*/ 60 h 267"/>
                    <a:gd name="T36" fmla="*/ 225 w 265"/>
                    <a:gd name="T37" fmla="*/ 77 h 267"/>
                    <a:gd name="T38" fmla="*/ 233 w 265"/>
                    <a:gd name="T39" fmla="*/ 92 h 267"/>
                    <a:gd name="T40" fmla="*/ 258 w 265"/>
                    <a:gd name="T41" fmla="*/ 86 h 267"/>
                    <a:gd name="T42" fmla="*/ 265 w 265"/>
                    <a:gd name="T43" fmla="*/ 122 h 267"/>
                    <a:gd name="T44" fmla="*/ 262 w 265"/>
                    <a:gd name="T45" fmla="*/ 127 h 267"/>
                    <a:gd name="T46" fmla="*/ 241 w 265"/>
                    <a:gd name="T47" fmla="*/ 139 h 267"/>
                    <a:gd name="T48" fmla="*/ 260 w 265"/>
                    <a:gd name="T49" fmla="*/ 154 h 267"/>
                    <a:gd name="T50" fmla="*/ 263 w 265"/>
                    <a:gd name="T51" fmla="*/ 158 h 267"/>
                    <a:gd name="T52" fmla="*/ 252 w 265"/>
                    <a:gd name="T53" fmla="*/ 194 h 267"/>
                    <a:gd name="T54" fmla="*/ 227 w 265"/>
                    <a:gd name="T55" fmla="*/ 186 h 267"/>
                    <a:gd name="T56" fmla="*/ 218 w 265"/>
                    <a:gd name="T57" fmla="*/ 199 h 267"/>
                    <a:gd name="T58" fmla="*/ 237 w 265"/>
                    <a:gd name="T59" fmla="*/ 219 h 267"/>
                    <a:gd name="T60" fmla="*/ 209 w 265"/>
                    <a:gd name="T61" fmla="*/ 242 h 267"/>
                    <a:gd name="T62" fmla="*/ 204 w 265"/>
                    <a:gd name="T63" fmla="*/ 242 h 267"/>
                    <a:gd name="T64" fmla="*/ 182 w 265"/>
                    <a:gd name="T65" fmla="*/ 229 h 267"/>
                    <a:gd name="T66" fmla="*/ 179 w 265"/>
                    <a:gd name="T67" fmla="*/ 254 h 267"/>
                    <a:gd name="T68" fmla="*/ 176 w 265"/>
                    <a:gd name="T69" fmla="*/ 259 h 267"/>
                    <a:gd name="T70" fmla="*/ 141 w 265"/>
                    <a:gd name="T71" fmla="*/ 267 h 267"/>
                    <a:gd name="T72" fmla="*/ 136 w 265"/>
                    <a:gd name="T73" fmla="*/ 241 h 267"/>
                    <a:gd name="T74" fmla="*/ 119 w 265"/>
                    <a:gd name="T75" fmla="*/ 241 h 267"/>
                    <a:gd name="T76" fmla="*/ 111 w 265"/>
                    <a:gd name="T77" fmla="*/ 266 h 267"/>
                    <a:gd name="T78" fmla="*/ 77 w 265"/>
                    <a:gd name="T79" fmla="*/ 254 h 267"/>
                    <a:gd name="T80" fmla="*/ 74 w 265"/>
                    <a:gd name="T81" fmla="*/ 249 h 267"/>
                    <a:gd name="T82" fmla="*/ 74 w 265"/>
                    <a:gd name="T83" fmla="*/ 224 h 267"/>
                    <a:gd name="T84" fmla="*/ 51 w 265"/>
                    <a:gd name="T85" fmla="*/ 234 h 267"/>
                    <a:gd name="T86" fmla="*/ 45 w 265"/>
                    <a:gd name="T87" fmla="*/ 234 h 267"/>
                    <a:gd name="T88" fmla="*/ 22 w 265"/>
                    <a:gd name="T89" fmla="*/ 207 h 267"/>
                    <a:gd name="T90" fmla="*/ 40 w 265"/>
                    <a:gd name="T91" fmla="*/ 190 h 267"/>
                    <a:gd name="T92" fmla="*/ 34 w 265"/>
                    <a:gd name="T93" fmla="*/ 175 h 267"/>
                    <a:gd name="T94" fmla="*/ 7 w 265"/>
                    <a:gd name="T95" fmla="*/ 181 h 267"/>
                    <a:gd name="T96" fmla="*/ 1 w 265"/>
                    <a:gd name="T97" fmla="*/ 145 h 267"/>
                    <a:gd name="T98" fmla="*/ 3 w 265"/>
                    <a:gd name="T99" fmla="*/ 140 h 267"/>
                    <a:gd name="T100" fmla="*/ 24 w 265"/>
                    <a:gd name="T101" fmla="*/ 128 h 267"/>
                    <a:gd name="T102" fmla="*/ 5 w 265"/>
                    <a:gd name="T103" fmla="*/ 114 h 267"/>
                    <a:gd name="T104" fmla="*/ 2 w 265"/>
                    <a:gd name="T105" fmla="*/ 109 h 267"/>
                    <a:gd name="T106" fmla="*/ 14 w 265"/>
                    <a:gd name="T107" fmla="*/ 73 h 267"/>
                    <a:gd name="T108" fmla="*/ 38 w 265"/>
                    <a:gd name="T109" fmla="*/ 81 h 267"/>
                    <a:gd name="T110" fmla="*/ 47 w 265"/>
                    <a:gd name="T111" fmla="*/ 68 h 267"/>
                    <a:gd name="T112" fmla="*/ 30 w 265"/>
                    <a:gd name="T113" fmla="*/ 48 h 267"/>
                    <a:gd name="T114" fmla="*/ 56 w 265"/>
                    <a:gd name="T115" fmla="*/ 25 h 267"/>
                    <a:gd name="T116" fmla="*/ 62 w 265"/>
                    <a:gd name="T117" fmla="*/ 25 h 267"/>
                    <a:gd name="T118" fmla="*/ 83 w 265"/>
                    <a:gd name="T119" fmla="*/ 38 h 267"/>
                    <a:gd name="T120" fmla="*/ 86 w 265"/>
                    <a:gd name="T121" fmla="*/ 13 h 267"/>
                    <a:gd name="T122" fmla="*/ 90 w 265"/>
                    <a:gd name="T123" fmla="*/ 8 h 267"/>
                    <a:gd name="T124" fmla="*/ 125 w 265"/>
                    <a:gd name="T125"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67">
                      <a:moveTo>
                        <a:pt x="134" y="90"/>
                      </a:moveTo>
                      <a:lnTo>
                        <a:pt x="119" y="93"/>
                      </a:lnTo>
                      <a:lnTo>
                        <a:pt x="104" y="101"/>
                      </a:lnTo>
                      <a:lnTo>
                        <a:pt x="94" y="115"/>
                      </a:lnTo>
                      <a:lnTo>
                        <a:pt x="90" y="131"/>
                      </a:lnTo>
                      <a:lnTo>
                        <a:pt x="91" y="148"/>
                      </a:lnTo>
                      <a:lnTo>
                        <a:pt x="100" y="162"/>
                      </a:lnTo>
                      <a:lnTo>
                        <a:pt x="115" y="173"/>
                      </a:lnTo>
                      <a:lnTo>
                        <a:pt x="131" y="177"/>
                      </a:lnTo>
                      <a:lnTo>
                        <a:pt x="148" y="174"/>
                      </a:lnTo>
                      <a:lnTo>
                        <a:pt x="162" y="166"/>
                      </a:lnTo>
                      <a:lnTo>
                        <a:pt x="172" y="152"/>
                      </a:lnTo>
                      <a:lnTo>
                        <a:pt x="176" y="136"/>
                      </a:lnTo>
                      <a:lnTo>
                        <a:pt x="174" y="119"/>
                      </a:lnTo>
                      <a:lnTo>
                        <a:pt x="165" y="105"/>
                      </a:lnTo>
                      <a:lnTo>
                        <a:pt x="151" y="94"/>
                      </a:lnTo>
                      <a:lnTo>
                        <a:pt x="134" y="90"/>
                      </a:lnTo>
                      <a:close/>
                      <a:moveTo>
                        <a:pt x="125" y="0"/>
                      </a:moveTo>
                      <a:lnTo>
                        <a:pt x="125" y="4"/>
                      </a:lnTo>
                      <a:lnTo>
                        <a:pt x="131" y="26"/>
                      </a:lnTo>
                      <a:lnTo>
                        <a:pt x="138" y="26"/>
                      </a:lnTo>
                      <a:lnTo>
                        <a:pt x="146" y="26"/>
                      </a:lnTo>
                      <a:lnTo>
                        <a:pt x="153" y="5"/>
                      </a:lnTo>
                      <a:lnTo>
                        <a:pt x="154" y="1"/>
                      </a:lnTo>
                      <a:lnTo>
                        <a:pt x="158" y="3"/>
                      </a:lnTo>
                      <a:lnTo>
                        <a:pt x="188" y="13"/>
                      </a:lnTo>
                      <a:lnTo>
                        <a:pt x="192" y="14"/>
                      </a:lnTo>
                      <a:lnTo>
                        <a:pt x="191" y="18"/>
                      </a:lnTo>
                      <a:lnTo>
                        <a:pt x="184" y="39"/>
                      </a:lnTo>
                      <a:lnTo>
                        <a:pt x="191" y="43"/>
                      </a:lnTo>
                      <a:lnTo>
                        <a:pt x="199" y="47"/>
                      </a:lnTo>
                      <a:lnTo>
                        <a:pt x="214" y="33"/>
                      </a:lnTo>
                      <a:lnTo>
                        <a:pt x="217" y="30"/>
                      </a:lnTo>
                      <a:lnTo>
                        <a:pt x="220" y="33"/>
                      </a:lnTo>
                      <a:lnTo>
                        <a:pt x="242" y="58"/>
                      </a:lnTo>
                      <a:lnTo>
                        <a:pt x="244" y="60"/>
                      </a:lnTo>
                      <a:lnTo>
                        <a:pt x="241" y="63"/>
                      </a:lnTo>
                      <a:lnTo>
                        <a:pt x="225" y="77"/>
                      </a:lnTo>
                      <a:lnTo>
                        <a:pt x="229" y="85"/>
                      </a:lnTo>
                      <a:lnTo>
                        <a:pt x="233" y="92"/>
                      </a:lnTo>
                      <a:lnTo>
                        <a:pt x="254" y="88"/>
                      </a:lnTo>
                      <a:lnTo>
                        <a:pt x="258" y="86"/>
                      </a:lnTo>
                      <a:lnTo>
                        <a:pt x="259" y="90"/>
                      </a:lnTo>
                      <a:lnTo>
                        <a:pt x="265" y="122"/>
                      </a:lnTo>
                      <a:lnTo>
                        <a:pt x="265" y="126"/>
                      </a:lnTo>
                      <a:lnTo>
                        <a:pt x="262" y="127"/>
                      </a:lnTo>
                      <a:lnTo>
                        <a:pt x="241" y="131"/>
                      </a:lnTo>
                      <a:lnTo>
                        <a:pt x="241" y="139"/>
                      </a:lnTo>
                      <a:lnTo>
                        <a:pt x="239" y="147"/>
                      </a:lnTo>
                      <a:lnTo>
                        <a:pt x="260" y="154"/>
                      </a:lnTo>
                      <a:lnTo>
                        <a:pt x="264" y="156"/>
                      </a:lnTo>
                      <a:lnTo>
                        <a:pt x="263" y="158"/>
                      </a:lnTo>
                      <a:lnTo>
                        <a:pt x="254" y="190"/>
                      </a:lnTo>
                      <a:lnTo>
                        <a:pt x="252" y="194"/>
                      </a:lnTo>
                      <a:lnTo>
                        <a:pt x="248" y="192"/>
                      </a:lnTo>
                      <a:lnTo>
                        <a:pt x="227" y="186"/>
                      </a:lnTo>
                      <a:lnTo>
                        <a:pt x="224" y="192"/>
                      </a:lnTo>
                      <a:lnTo>
                        <a:pt x="218" y="199"/>
                      </a:lnTo>
                      <a:lnTo>
                        <a:pt x="233" y="215"/>
                      </a:lnTo>
                      <a:lnTo>
                        <a:pt x="237" y="219"/>
                      </a:lnTo>
                      <a:lnTo>
                        <a:pt x="233" y="221"/>
                      </a:lnTo>
                      <a:lnTo>
                        <a:pt x="209" y="242"/>
                      </a:lnTo>
                      <a:lnTo>
                        <a:pt x="207" y="245"/>
                      </a:lnTo>
                      <a:lnTo>
                        <a:pt x="204" y="242"/>
                      </a:lnTo>
                      <a:lnTo>
                        <a:pt x="189" y="225"/>
                      </a:lnTo>
                      <a:lnTo>
                        <a:pt x="182" y="229"/>
                      </a:lnTo>
                      <a:lnTo>
                        <a:pt x="175" y="233"/>
                      </a:lnTo>
                      <a:lnTo>
                        <a:pt x="179" y="254"/>
                      </a:lnTo>
                      <a:lnTo>
                        <a:pt x="180" y="258"/>
                      </a:lnTo>
                      <a:lnTo>
                        <a:pt x="176" y="259"/>
                      </a:lnTo>
                      <a:lnTo>
                        <a:pt x="145" y="266"/>
                      </a:lnTo>
                      <a:lnTo>
                        <a:pt x="141" y="267"/>
                      </a:lnTo>
                      <a:lnTo>
                        <a:pt x="140" y="263"/>
                      </a:lnTo>
                      <a:lnTo>
                        <a:pt x="136" y="241"/>
                      </a:lnTo>
                      <a:lnTo>
                        <a:pt x="127" y="241"/>
                      </a:lnTo>
                      <a:lnTo>
                        <a:pt x="119" y="241"/>
                      </a:lnTo>
                      <a:lnTo>
                        <a:pt x="112" y="262"/>
                      </a:lnTo>
                      <a:lnTo>
                        <a:pt x="111" y="266"/>
                      </a:lnTo>
                      <a:lnTo>
                        <a:pt x="107" y="264"/>
                      </a:lnTo>
                      <a:lnTo>
                        <a:pt x="77" y="254"/>
                      </a:lnTo>
                      <a:lnTo>
                        <a:pt x="73" y="253"/>
                      </a:lnTo>
                      <a:lnTo>
                        <a:pt x="74" y="249"/>
                      </a:lnTo>
                      <a:lnTo>
                        <a:pt x="81" y="228"/>
                      </a:lnTo>
                      <a:lnTo>
                        <a:pt x="74" y="224"/>
                      </a:lnTo>
                      <a:lnTo>
                        <a:pt x="68" y="220"/>
                      </a:lnTo>
                      <a:lnTo>
                        <a:pt x="51" y="234"/>
                      </a:lnTo>
                      <a:lnTo>
                        <a:pt x="48" y="237"/>
                      </a:lnTo>
                      <a:lnTo>
                        <a:pt x="45" y="234"/>
                      </a:lnTo>
                      <a:lnTo>
                        <a:pt x="24" y="209"/>
                      </a:lnTo>
                      <a:lnTo>
                        <a:pt x="22" y="207"/>
                      </a:lnTo>
                      <a:lnTo>
                        <a:pt x="24" y="204"/>
                      </a:lnTo>
                      <a:lnTo>
                        <a:pt x="40" y="190"/>
                      </a:lnTo>
                      <a:lnTo>
                        <a:pt x="36" y="182"/>
                      </a:lnTo>
                      <a:lnTo>
                        <a:pt x="34" y="175"/>
                      </a:lnTo>
                      <a:lnTo>
                        <a:pt x="11" y="179"/>
                      </a:lnTo>
                      <a:lnTo>
                        <a:pt x="7" y="181"/>
                      </a:lnTo>
                      <a:lnTo>
                        <a:pt x="7" y="177"/>
                      </a:lnTo>
                      <a:lnTo>
                        <a:pt x="1" y="145"/>
                      </a:lnTo>
                      <a:lnTo>
                        <a:pt x="0" y="141"/>
                      </a:lnTo>
                      <a:lnTo>
                        <a:pt x="3" y="140"/>
                      </a:lnTo>
                      <a:lnTo>
                        <a:pt x="24" y="136"/>
                      </a:lnTo>
                      <a:lnTo>
                        <a:pt x="24" y="128"/>
                      </a:lnTo>
                      <a:lnTo>
                        <a:pt x="26" y="120"/>
                      </a:lnTo>
                      <a:lnTo>
                        <a:pt x="5" y="114"/>
                      </a:lnTo>
                      <a:lnTo>
                        <a:pt x="1" y="113"/>
                      </a:lnTo>
                      <a:lnTo>
                        <a:pt x="2" y="109"/>
                      </a:lnTo>
                      <a:lnTo>
                        <a:pt x="13" y="77"/>
                      </a:lnTo>
                      <a:lnTo>
                        <a:pt x="14" y="73"/>
                      </a:lnTo>
                      <a:lnTo>
                        <a:pt x="18" y="75"/>
                      </a:lnTo>
                      <a:lnTo>
                        <a:pt x="38" y="81"/>
                      </a:lnTo>
                      <a:lnTo>
                        <a:pt x="43" y="75"/>
                      </a:lnTo>
                      <a:lnTo>
                        <a:pt x="47" y="68"/>
                      </a:lnTo>
                      <a:lnTo>
                        <a:pt x="32" y="52"/>
                      </a:lnTo>
                      <a:lnTo>
                        <a:pt x="30" y="48"/>
                      </a:lnTo>
                      <a:lnTo>
                        <a:pt x="32" y="46"/>
                      </a:lnTo>
                      <a:lnTo>
                        <a:pt x="56" y="25"/>
                      </a:lnTo>
                      <a:lnTo>
                        <a:pt x="60" y="22"/>
                      </a:lnTo>
                      <a:lnTo>
                        <a:pt x="62" y="25"/>
                      </a:lnTo>
                      <a:lnTo>
                        <a:pt x="77" y="42"/>
                      </a:lnTo>
                      <a:lnTo>
                        <a:pt x="83" y="38"/>
                      </a:lnTo>
                      <a:lnTo>
                        <a:pt x="91" y="34"/>
                      </a:lnTo>
                      <a:lnTo>
                        <a:pt x="86" y="13"/>
                      </a:lnTo>
                      <a:lnTo>
                        <a:pt x="86" y="9"/>
                      </a:lnTo>
                      <a:lnTo>
                        <a:pt x="90" y="8"/>
                      </a:lnTo>
                      <a:lnTo>
                        <a:pt x="121" y="1"/>
                      </a:lnTo>
                      <a:lnTo>
                        <a:pt x="125" y="0"/>
                      </a:lnTo>
                      <a:close/>
                    </a:path>
                  </a:pathLst>
                </a:custGeom>
                <a:solidFill>
                  <a:srgbClr val="9F3D34"/>
                </a:solidFill>
                <a:ln w="0">
                  <a:noFill/>
                  <a:prstDash val="solid"/>
                  <a:round/>
                  <a:headEnd/>
                  <a:tailEnd/>
                </a:ln>
              </p:spPr>
              <p:txBody>
                <a:bodyPr/>
                <a:lstStyle/>
                <a:p>
                  <a:pPr eaLnBrk="1" fontAlgn="auto" hangingPunct="1">
                    <a:spcBef>
                      <a:spcPts val="0"/>
                    </a:spcBef>
                    <a:spcAft>
                      <a:spcPts val="0"/>
                    </a:spcAft>
                    <a:defRPr/>
                  </a:pPr>
                  <a:endParaRPr lang="en-US" dirty="0">
                    <a:latin typeface="+mn-lt"/>
                    <a:cs typeface="+mn-cs"/>
                  </a:endParaRPr>
                </a:p>
              </p:txBody>
            </p:sp>
            <p:sp>
              <p:nvSpPr>
                <p:cNvPr id="44" name="Freeform 201">
                  <a:extLst>
                    <a:ext uri="{FF2B5EF4-FFF2-40B4-BE49-F238E27FC236}">
                      <a16:creationId xmlns:a16="http://schemas.microsoft.com/office/drawing/2014/main" id="{1B74FE1A-C727-4ED8-9B38-060776A7FB9A}"/>
                    </a:ext>
                  </a:extLst>
                </p:cNvPr>
                <p:cNvSpPr>
                  <a:spLocks noEditPoints="1"/>
                </p:cNvSpPr>
                <p:nvPr/>
              </p:nvSpPr>
              <p:spPr bwMode="auto">
                <a:xfrm>
                  <a:off x="1212823" y="2280896"/>
                  <a:ext cx="369887" cy="368340"/>
                </a:xfrm>
                <a:custGeom>
                  <a:avLst/>
                  <a:gdLst>
                    <a:gd name="T0" fmla="*/ 118 w 266"/>
                    <a:gd name="T1" fmla="*/ 91 h 265"/>
                    <a:gd name="T2" fmla="*/ 93 w 266"/>
                    <a:gd name="T3" fmla="*/ 114 h 265"/>
                    <a:gd name="T4" fmla="*/ 92 w 266"/>
                    <a:gd name="T5" fmla="*/ 146 h 265"/>
                    <a:gd name="T6" fmla="*/ 114 w 266"/>
                    <a:gd name="T7" fmla="*/ 171 h 265"/>
                    <a:gd name="T8" fmla="*/ 147 w 266"/>
                    <a:gd name="T9" fmla="*/ 174 h 265"/>
                    <a:gd name="T10" fmla="*/ 172 w 266"/>
                    <a:gd name="T11" fmla="*/ 150 h 265"/>
                    <a:gd name="T12" fmla="*/ 174 w 266"/>
                    <a:gd name="T13" fmla="*/ 117 h 265"/>
                    <a:gd name="T14" fmla="*/ 151 w 266"/>
                    <a:gd name="T15" fmla="*/ 93 h 265"/>
                    <a:gd name="T16" fmla="*/ 125 w 266"/>
                    <a:gd name="T17" fmla="*/ 0 h 265"/>
                    <a:gd name="T18" fmla="*/ 130 w 266"/>
                    <a:gd name="T19" fmla="*/ 25 h 265"/>
                    <a:gd name="T20" fmla="*/ 147 w 266"/>
                    <a:gd name="T21" fmla="*/ 25 h 265"/>
                    <a:gd name="T22" fmla="*/ 155 w 266"/>
                    <a:gd name="T23" fmla="*/ 1 h 265"/>
                    <a:gd name="T24" fmla="*/ 189 w 266"/>
                    <a:gd name="T25" fmla="*/ 11 h 265"/>
                    <a:gd name="T26" fmla="*/ 191 w 266"/>
                    <a:gd name="T27" fmla="*/ 17 h 265"/>
                    <a:gd name="T28" fmla="*/ 191 w 266"/>
                    <a:gd name="T29" fmla="*/ 42 h 265"/>
                    <a:gd name="T30" fmla="*/ 215 w 266"/>
                    <a:gd name="T31" fmla="*/ 31 h 265"/>
                    <a:gd name="T32" fmla="*/ 220 w 266"/>
                    <a:gd name="T33" fmla="*/ 32 h 265"/>
                    <a:gd name="T34" fmla="*/ 244 w 266"/>
                    <a:gd name="T35" fmla="*/ 59 h 265"/>
                    <a:gd name="T36" fmla="*/ 225 w 266"/>
                    <a:gd name="T37" fmla="*/ 76 h 265"/>
                    <a:gd name="T38" fmla="*/ 232 w 266"/>
                    <a:gd name="T39" fmla="*/ 90 h 265"/>
                    <a:gd name="T40" fmla="*/ 258 w 266"/>
                    <a:gd name="T41" fmla="*/ 85 h 265"/>
                    <a:gd name="T42" fmla="*/ 265 w 266"/>
                    <a:gd name="T43" fmla="*/ 120 h 265"/>
                    <a:gd name="T44" fmla="*/ 262 w 266"/>
                    <a:gd name="T45" fmla="*/ 125 h 265"/>
                    <a:gd name="T46" fmla="*/ 241 w 266"/>
                    <a:gd name="T47" fmla="*/ 138 h 265"/>
                    <a:gd name="T48" fmla="*/ 261 w 266"/>
                    <a:gd name="T49" fmla="*/ 153 h 265"/>
                    <a:gd name="T50" fmla="*/ 263 w 266"/>
                    <a:gd name="T51" fmla="*/ 158 h 265"/>
                    <a:gd name="T52" fmla="*/ 252 w 266"/>
                    <a:gd name="T53" fmla="*/ 192 h 265"/>
                    <a:gd name="T54" fmla="*/ 228 w 266"/>
                    <a:gd name="T55" fmla="*/ 184 h 265"/>
                    <a:gd name="T56" fmla="*/ 219 w 266"/>
                    <a:gd name="T57" fmla="*/ 197 h 265"/>
                    <a:gd name="T58" fmla="*/ 236 w 266"/>
                    <a:gd name="T59" fmla="*/ 217 h 265"/>
                    <a:gd name="T60" fmla="*/ 210 w 266"/>
                    <a:gd name="T61" fmla="*/ 241 h 265"/>
                    <a:gd name="T62" fmla="*/ 203 w 266"/>
                    <a:gd name="T63" fmla="*/ 241 h 265"/>
                    <a:gd name="T64" fmla="*/ 182 w 266"/>
                    <a:gd name="T65" fmla="*/ 229 h 265"/>
                    <a:gd name="T66" fmla="*/ 180 w 266"/>
                    <a:gd name="T67" fmla="*/ 254 h 265"/>
                    <a:gd name="T68" fmla="*/ 176 w 266"/>
                    <a:gd name="T69" fmla="*/ 258 h 265"/>
                    <a:gd name="T70" fmla="*/ 140 w 266"/>
                    <a:gd name="T71" fmla="*/ 265 h 265"/>
                    <a:gd name="T72" fmla="*/ 135 w 266"/>
                    <a:gd name="T73" fmla="*/ 241 h 265"/>
                    <a:gd name="T74" fmla="*/ 119 w 266"/>
                    <a:gd name="T75" fmla="*/ 239 h 265"/>
                    <a:gd name="T76" fmla="*/ 111 w 266"/>
                    <a:gd name="T77" fmla="*/ 264 h 265"/>
                    <a:gd name="T78" fmla="*/ 77 w 266"/>
                    <a:gd name="T79" fmla="*/ 252 h 265"/>
                    <a:gd name="T80" fmla="*/ 75 w 266"/>
                    <a:gd name="T81" fmla="*/ 247 h 265"/>
                    <a:gd name="T82" fmla="*/ 75 w 266"/>
                    <a:gd name="T83" fmla="*/ 222 h 265"/>
                    <a:gd name="T84" fmla="*/ 51 w 266"/>
                    <a:gd name="T85" fmla="*/ 233 h 265"/>
                    <a:gd name="T86" fmla="*/ 46 w 266"/>
                    <a:gd name="T87" fmla="*/ 233 h 265"/>
                    <a:gd name="T88" fmla="*/ 21 w 266"/>
                    <a:gd name="T89" fmla="*/ 205 h 265"/>
                    <a:gd name="T90" fmla="*/ 41 w 266"/>
                    <a:gd name="T91" fmla="*/ 188 h 265"/>
                    <a:gd name="T92" fmla="*/ 33 w 266"/>
                    <a:gd name="T93" fmla="*/ 174 h 265"/>
                    <a:gd name="T94" fmla="*/ 8 w 266"/>
                    <a:gd name="T95" fmla="*/ 179 h 265"/>
                    <a:gd name="T96" fmla="*/ 0 w 266"/>
                    <a:gd name="T97" fmla="*/ 144 h 265"/>
                    <a:gd name="T98" fmla="*/ 4 w 266"/>
                    <a:gd name="T99" fmla="*/ 140 h 265"/>
                    <a:gd name="T100" fmla="*/ 25 w 266"/>
                    <a:gd name="T101" fmla="*/ 127 h 265"/>
                    <a:gd name="T102" fmla="*/ 5 w 266"/>
                    <a:gd name="T103" fmla="*/ 112 h 265"/>
                    <a:gd name="T104" fmla="*/ 3 w 266"/>
                    <a:gd name="T105" fmla="*/ 107 h 265"/>
                    <a:gd name="T106" fmla="*/ 13 w 266"/>
                    <a:gd name="T107" fmla="*/ 73 h 265"/>
                    <a:gd name="T108" fmla="*/ 38 w 266"/>
                    <a:gd name="T109" fmla="*/ 81 h 265"/>
                    <a:gd name="T110" fmla="*/ 47 w 266"/>
                    <a:gd name="T111" fmla="*/ 66 h 265"/>
                    <a:gd name="T112" fmla="*/ 29 w 266"/>
                    <a:gd name="T113" fmla="*/ 48 h 265"/>
                    <a:gd name="T114" fmla="*/ 56 w 266"/>
                    <a:gd name="T115" fmla="*/ 23 h 265"/>
                    <a:gd name="T116" fmla="*/ 62 w 266"/>
                    <a:gd name="T117" fmla="*/ 23 h 265"/>
                    <a:gd name="T118" fmla="*/ 84 w 266"/>
                    <a:gd name="T119" fmla="*/ 36 h 265"/>
                    <a:gd name="T120" fmla="*/ 87 w 266"/>
                    <a:gd name="T121" fmla="*/ 11 h 265"/>
                    <a:gd name="T122" fmla="*/ 89 w 266"/>
                    <a:gd name="T123" fmla="*/ 6 h 265"/>
                    <a:gd name="T124" fmla="*/ 125 w 266"/>
                    <a:gd name="T125"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6" h="265">
                      <a:moveTo>
                        <a:pt x="135" y="89"/>
                      </a:moveTo>
                      <a:lnTo>
                        <a:pt x="118" y="91"/>
                      </a:lnTo>
                      <a:lnTo>
                        <a:pt x="104" y="100"/>
                      </a:lnTo>
                      <a:lnTo>
                        <a:pt x="93" y="114"/>
                      </a:lnTo>
                      <a:lnTo>
                        <a:pt x="89" y="131"/>
                      </a:lnTo>
                      <a:lnTo>
                        <a:pt x="92" y="146"/>
                      </a:lnTo>
                      <a:lnTo>
                        <a:pt x="101" y="161"/>
                      </a:lnTo>
                      <a:lnTo>
                        <a:pt x="114" y="171"/>
                      </a:lnTo>
                      <a:lnTo>
                        <a:pt x="131" y="175"/>
                      </a:lnTo>
                      <a:lnTo>
                        <a:pt x="147" y="174"/>
                      </a:lnTo>
                      <a:lnTo>
                        <a:pt x="162" y="165"/>
                      </a:lnTo>
                      <a:lnTo>
                        <a:pt x="172" y="150"/>
                      </a:lnTo>
                      <a:lnTo>
                        <a:pt x="176" y="135"/>
                      </a:lnTo>
                      <a:lnTo>
                        <a:pt x="174" y="117"/>
                      </a:lnTo>
                      <a:lnTo>
                        <a:pt x="165" y="103"/>
                      </a:lnTo>
                      <a:lnTo>
                        <a:pt x="151" y="93"/>
                      </a:lnTo>
                      <a:lnTo>
                        <a:pt x="135" y="89"/>
                      </a:lnTo>
                      <a:close/>
                      <a:moveTo>
                        <a:pt x="125" y="0"/>
                      </a:moveTo>
                      <a:lnTo>
                        <a:pt x="126" y="4"/>
                      </a:lnTo>
                      <a:lnTo>
                        <a:pt x="130" y="25"/>
                      </a:lnTo>
                      <a:lnTo>
                        <a:pt x="139" y="25"/>
                      </a:lnTo>
                      <a:lnTo>
                        <a:pt x="147" y="25"/>
                      </a:lnTo>
                      <a:lnTo>
                        <a:pt x="153" y="5"/>
                      </a:lnTo>
                      <a:lnTo>
                        <a:pt x="155" y="1"/>
                      </a:lnTo>
                      <a:lnTo>
                        <a:pt x="159" y="2"/>
                      </a:lnTo>
                      <a:lnTo>
                        <a:pt x="189" y="11"/>
                      </a:lnTo>
                      <a:lnTo>
                        <a:pt x="193" y="13"/>
                      </a:lnTo>
                      <a:lnTo>
                        <a:pt x="191" y="17"/>
                      </a:lnTo>
                      <a:lnTo>
                        <a:pt x="185" y="38"/>
                      </a:lnTo>
                      <a:lnTo>
                        <a:pt x="191" y="42"/>
                      </a:lnTo>
                      <a:lnTo>
                        <a:pt x="198" y="47"/>
                      </a:lnTo>
                      <a:lnTo>
                        <a:pt x="215" y="31"/>
                      </a:lnTo>
                      <a:lnTo>
                        <a:pt x="218" y="28"/>
                      </a:lnTo>
                      <a:lnTo>
                        <a:pt x="220" y="32"/>
                      </a:lnTo>
                      <a:lnTo>
                        <a:pt x="241" y="56"/>
                      </a:lnTo>
                      <a:lnTo>
                        <a:pt x="244" y="59"/>
                      </a:lnTo>
                      <a:lnTo>
                        <a:pt x="241" y="61"/>
                      </a:lnTo>
                      <a:lnTo>
                        <a:pt x="225" y="76"/>
                      </a:lnTo>
                      <a:lnTo>
                        <a:pt x="229" y="83"/>
                      </a:lnTo>
                      <a:lnTo>
                        <a:pt x="232" y="90"/>
                      </a:lnTo>
                      <a:lnTo>
                        <a:pt x="254" y="86"/>
                      </a:lnTo>
                      <a:lnTo>
                        <a:pt x="258" y="85"/>
                      </a:lnTo>
                      <a:lnTo>
                        <a:pt x="258" y="89"/>
                      </a:lnTo>
                      <a:lnTo>
                        <a:pt x="265" y="120"/>
                      </a:lnTo>
                      <a:lnTo>
                        <a:pt x="266" y="124"/>
                      </a:lnTo>
                      <a:lnTo>
                        <a:pt x="262" y="125"/>
                      </a:lnTo>
                      <a:lnTo>
                        <a:pt x="241" y="129"/>
                      </a:lnTo>
                      <a:lnTo>
                        <a:pt x="241" y="138"/>
                      </a:lnTo>
                      <a:lnTo>
                        <a:pt x="240" y="146"/>
                      </a:lnTo>
                      <a:lnTo>
                        <a:pt x="261" y="153"/>
                      </a:lnTo>
                      <a:lnTo>
                        <a:pt x="265" y="154"/>
                      </a:lnTo>
                      <a:lnTo>
                        <a:pt x="263" y="158"/>
                      </a:lnTo>
                      <a:lnTo>
                        <a:pt x="253" y="188"/>
                      </a:lnTo>
                      <a:lnTo>
                        <a:pt x="252" y="192"/>
                      </a:lnTo>
                      <a:lnTo>
                        <a:pt x="248" y="191"/>
                      </a:lnTo>
                      <a:lnTo>
                        <a:pt x="228" y="184"/>
                      </a:lnTo>
                      <a:lnTo>
                        <a:pt x="223" y="191"/>
                      </a:lnTo>
                      <a:lnTo>
                        <a:pt x="219" y="197"/>
                      </a:lnTo>
                      <a:lnTo>
                        <a:pt x="233" y="214"/>
                      </a:lnTo>
                      <a:lnTo>
                        <a:pt x="236" y="217"/>
                      </a:lnTo>
                      <a:lnTo>
                        <a:pt x="233" y="220"/>
                      </a:lnTo>
                      <a:lnTo>
                        <a:pt x="210" y="241"/>
                      </a:lnTo>
                      <a:lnTo>
                        <a:pt x="206" y="243"/>
                      </a:lnTo>
                      <a:lnTo>
                        <a:pt x="203" y="241"/>
                      </a:lnTo>
                      <a:lnTo>
                        <a:pt x="189" y="225"/>
                      </a:lnTo>
                      <a:lnTo>
                        <a:pt x="182" y="229"/>
                      </a:lnTo>
                      <a:lnTo>
                        <a:pt x="174" y="231"/>
                      </a:lnTo>
                      <a:lnTo>
                        <a:pt x="180" y="254"/>
                      </a:lnTo>
                      <a:lnTo>
                        <a:pt x="180" y="258"/>
                      </a:lnTo>
                      <a:lnTo>
                        <a:pt x="176" y="258"/>
                      </a:lnTo>
                      <a:lnTo>
                        <a:pt x="144" y="264"/>
                      </a:lnTo>
                      <a:lnTo>
                        <a:pt x="140" y="265"/>
                      </a:lnTo>
                      <a:lnTo>
                        <a:pt x="140" y="262"/>
                      </a:lnTo>
                      <a:lnTo>
                        <a:pt x="135" y="241"/>
                      </a:lnTo>
                      <a:lnTo>
                        <a:pt x="127" y="241"/>
                      </a:lnTo>
                      <a:lnTo>
                        <a:pt x="119" y="239"/>
                      </a:lnTo>
                      <a:lnTo>
                        <a:pt x="113" y="260"/>
                      </a:lnTo>
                      <a:lnTo>
                        <a:pt x="111" y="264"/>
                      </a:lnTo>
                      <a:lnTo>
                        <a:pt x="107" y="263"/>
                      </a:lnTo>
                      <a:lnTo>
                        <a:pt x="77" y="252"/>
                      </a:lnTo>
                      <a:lnTo>
                        <a:pt x="73" y="251"/>
                      </a:lnTo>
                      <a:lnTo>
                        <a:pt x="75" y="247"/>
                      </a:lnTo>
                      <a:lnTo>
                        <a:pt x="81" y="227"/>
                      </a:lnTo>
                      <a:lnTo>
                        <a:pt x="75" y="222"/>
                      </a:lnTo>
                      <a:lnTo>
                        <a:pt x="67" y="218"/>
                      </a:lnTo>
                      <a:lnTo>
                        <a:pt x="51" y="233"/>
                      </a:lnTo>
                      <a:lnTo>
                        <a:pt x="49" y="235"/>
                      </a:lnTo>
                      <a:lnTo>
                        <a:pt x="46" y="233"/>
                      </a:lnTo>
                      <a:lnTo>
                        <a:pt x="24" y="209"/>
                      </a:lnTo>
                      <a:lnTo>
                        <a:pt x="21" y="205"/>
                      </a:lnTo>
                      <a:lnTo>
                        <a:pt x="25" y="203"/>
                      </a:lnTo>
                      <a:lnTo>
                        <a:pt x="41" y="188"/>
                      </a:lnTo>
                      <a:lnTo>
                        <a:pt x="37" y="182"/>
                      </a:lnTo>
                      <a:lnTo>
                        <a:pt x="33" y="174"/>
                      </a:lnTo>
                      <a:lnTo>
                        <a:pt x="12" y="179"/>
                      </a:lnTo>
                      <a:lnTo>
                        <a:pt x="8" y="179"/>
                      </a:lnTo>
                      <a:lnTo>
                        <a:pt x="7" y="175"/>
                      </a:lnTo>
                      <a:lnTo>
                        <a:pt x="0" y="144"/>
                      </a:lnTo>
                      <a:lnTo>
                        <a:pt x="0" y="140"/>
                      </a:lnTo>
                      <a:lnTo>
                        <a:pt x="4" y="140"/>
                      </a:lnTo>
                      <a:lnTo>
                        <a:pt x="25" y="135"/>
                      </a:lnTo>
                      <a:lnTo>
                        <a:pt x="25" y="127"/>
                      </a:lnTo>
                      <a:lnTo>
                        <a:pt x="26" y="119"/>
                      </a:lnTo>
                      <a:lnTo>
                        <a:pt x="5" y="112"/>
                      </a:lnTo>
                      <a:lnTo>
                        <a:pt x="1" y="111"/>
                      </a:lnTo>
                      <a:lnTo>
                        <a:pt x="3" y="107"/>
                      </a:lnTo>
                      <a:lnTo>
                        <a:pt x="12" y="77"/>
                      </a:lnTo>
                      <a:lnTo>
                        <a:pt x="13" y="73"/>
                      </a:lnTo>
                      <a:lnTo>
                        <a:pt x="17" y="74"/>
                      </a:lnTo>
                      <a:lnTo>
                        <a:pt x="38" y="81"/>
                      </a:lnTo>
                      <a:lnTo>
                        <a:pt x="42" y="73"/>
                      </a:lnTo>
                      <a:lnTo>
                        <a:pt x="47" y="66"/>
                      </a:lnTo>
                      <a:lnTo>
                        <a:pt x="33" y="51"/>
                      </a:lnTo>
                      <a:lnTo>
                        <a:pt x="29" y="48"/>
                      </a:lnTo>
                      <a:lnTo>
                        <a:pt x="33" y="45"/>
                      </a:lnTo>
                      <a:lnTo>
                        <a:pt x="56" y="23"/>
                      </a:lnTo>
                      <a:lnTo>
                        <a:pt x="59" y="21"/>
                      </a:lnTo>
                      <a:lnTo>
                        <a:pt x="62" y="23"/>
                      </a:lnTo>
                      <a:lnTo>
                        <a:pt x="77" y="40"/>
                      </a:lnTo>
                      <a:lnTo>
                        <a:pt x="84" y="36"/>
                      </a:lnTo>
                      <a:lnTo>
                        <a:pt x="90" y="32"/>
                      </a:lnTo>
                      <a:lnTo>
                        <a:pt x="87" y="11"/>
                      </a:lnTo>
                      <a:lnTo>
                        <a:pt x="85" y="8"/>
                      </a:lnTo>
                      <a:lnTo>
                        <a:pt x="89" y="6"/>
                      </a:lnTo>
                      <a:lnTo>
                        <a:pt x="121" y="0"/>
                      </a:lnTo>
                      <a:lnTo>
                        <a:pt x="125" y="0"/>
                      </a:lnTo>
                      <a:close/>
                    </a:path>
                  </a:pathLst>
                </a:custGeom>
                <a:solidFill>
                  <a:srgbClr val="89A14F"/>
                </a:solidFill>
                <a:ln w="0">
                  <a:noFill/>
                  <a:prstDash val="solid"/>
                  <a:round/>
                  <a:headEnd/>
                  <a:tailEnd/>
                </a:ln>
              </p:spPr>
              <p:txBody>
                <a:bodyPr/>
                <a:lstStyle/>
                <a:p>
                  <a:pPr eaLnBrk="1" fontAlgn="auto" hangingPunct="1">
                    <a:spcBef>
                      <a:spcPts val="0"/>
                    </a:spcBef>
                    <a:spcAft>
                      <a:spcPts val="0"/>
                    </a:spcAft>
                    <a:defRPr/>
                  </a:pPr>
                  <a:endParaRPr lang="en-US" dirty="0">
                    <a:latin typeface="+mn-lt"/>
                    <a:cs typeface="+mn-cs"/>
                  </a:endParaRPr>
                </a:p>
              </p:txBody>
            </p:sp>
            <p:sp>
              <p:nvSpPr>
                <p:cNvPr id="45" name="Freeform 202">
                  <a:extLst>
                    <a:ext uri="{FF2B5EF4-FFF2-40B4-BE49-F238E27FC236}">
                      <a16:creationId xmlns:a16="http://schemas.microsoft.com/office/drawing/2014/main" id="{5780434B-4415-4FDD-BF42-C339687BAAA9}"/>
                    </a:ext>
                  </a:extLst>
                </p:cNvPr>
                <p:cNvSpPr>
                  <a:spLocks noEditPoints="1"/>
                </p:cNvSpPr>
                <p:nvPr/>
              </p:nvSpPr>
              <p:spPr bwMode="auto">
                <a:xfrm>
                  <a:off x="2424085" y="2160233"/>
                  <a:ext cx="238125" cy="238151"/>
                </a:xfrm>
                <a:custGeom>
                  <a:avLst/>
                  <a:gdLst>
                    <a:gd name="T0" fmla="*/ 76 w 171"/>
                    <a:gd name="T1" fmla="*/ 59 h 172"/>
                    <a:gd name="T2" fmla="*/ 61 w 171"/>
                    <a:gd name="T3" fmla="*/ 75 h 172"/>
                    <a:gd name="T4" fmla="*/ 59 w 171"/>
                    <a:gd name="T5" fmla="*/ 95 h 172"/>
                    <a:gd name="T6" fmla="*/ 74 w 171"/>
                    <a:gd name="T7" fmla="*/ 112 h 172"/>
                    <a:gd name="T8" fmla="*/ 95 w 171"/>
                    <a:gd name="T9" fmla="*/ 113 h 172"/>
                    <a:gd name="T10" fmla="*/ 110 w 171"/>
                    <a:gd name="T11" fmla="*/ 97 h 172"/>
                    <a:gd name="T12" fmla="*/ 112 w 171"/>
                    <a:gd name="T13" fmla="*/ 77 h 172"/>
                    <a:gd name="T14" fmla="*/ 97 w 171"/>
                    <a:gd name="T15" fmla="*/ 60 h 172"/>
                    <a:gd name="T16" fmla="*/ 80 w 171"/>
                    <a:gd name="T17" fmla="*/ 0 h 172"/>
                    <a:gd name="T18" fmla="*/ 84 w 171"/>
                    <a:gd name="T19" fmla="*/ 17 h 172"/>
                    <a:gd name="T20" fmla="*/ 99 w 171"/>
                    <a:gd name="T21" fmla="*/ 4 h 172"/>
                    <a:gd name="T22" fmla="*/ 101 w 171"/>
                    <a:gd name="T23" fmla="*/ 3 h 172"/>
                    <a:gd name="T24" fmla="*/ 124 w 171"/>
                    <a:gd name="T25" fmla="*/ 9 h 172"/>
                    <a:gd name="T26" fmla="*/ 118 w 171"/>
                    <a:gd name="T27" fmla="*/ 25 h 172"/>
                    <a:gd name="T28" fmla="*/ 138 w 171"/>
                    <a:gd name="T29" fmla="*/ 21 h 172"/>
                    <a:gd name="T30" fmla="*/ 142 w 171"/>
                    <a:gd name="T31" fmla="*/ 22 h 172"/>
                    <a:gd name="T32" fmla="*/ 156 w 171"/>
                    <a:gd name="T33" fmla="*/ 40 h 172"/>
                    <a:gd name="T34" fmla="*/ 145 w 171"/>
                    <a:gd name="T35" fmla="*/ 50 h 172"/>
                    <a:gd name="T36" fmla="*/ 163 w 171"/>
                    <a:gd name="T37" fmla="*/ 57 h 172"/>
                    <a:gd name="T38" fmla="*/ 165 w 171"/>
                    <a:gd name="T39" fmla="*/ 58 h 172"/>
                    <a:gd name="T40" fmla="*/ 171 w 171"/>
                    <a:gd name="T41" fmla="*/ 81 h 172"/>
                    <a:gd name="T42" fmla="*/ 155 w 171"/>
                    <a:gd name="T43" fmla="*/ 84 h 172"/>
                    <a:gd name="T44" fmla="*/ 167 w 171"/>
                    <a:gd name="T45" fmla="*/ 98 h 172"/>
                    <a:gd name="T46" fmla="*/ 169 w 171"/>
                    <a:gd name="T47" fmla="*/ 102 h 172"/>
                    <a:gd name="T48" fmla="*/ 162 w 171"/>
                    <a:gd name="T49" fmla="*/ 125 h 172"/>
                    <a:gd name="T50" fmla="*/ 146 w 171"/>
                    <a:gd name="T51" fmla="*/ 119 h 172"/>
                    <a:gd name="T52" fmla="*/ 150 w 171"/>
                    <a:gd name="T53" fmla="*/ 138 h 172"/>
                    <a:gd name="T54" fmla="*/ 150 w 171"/>
                    <a:gd name="T55" fmla="*/ 142 h 172"/>
                    <a:gd name="T56" fmla="*/ 133 w 171"/>
                    <a:gd name="T57" fmla="*/ 157 h 172"/>
                    <a:gd name="T58" fmla="*/ 121 w 171"/>
                    <a:gd name="T59" fmla="*/ 144 h 172"/>
                    <a:gd name="T60" fmla="*/ 116 w 171"/>
                    <a:gd name="T61" fmla="*/ 164 h 172"/>
                    <a:gd name="T62" fmla="*/ 113 w 171"/>
                    <a:gd name="T63" fmla="*/ 167 h 172"/>
                    <a:gd name="T64" fmla="*/ 91 w 171"/>
                    <a:gd name="T65" fmla="*/ 172 h 172"/>
                    <a:gd name="T66" fmla="*/ 87 w 171"/>
                    <a:gd name="T67" fmla="*/ 155 h 172"/>
                    <a:gd name="T68" fmla="*/ 72 w 171"/>
                    <a:gd name="T69" fmla="*/ 168 h 172"/>
                    <a:gd name="T70" fmla="*/ 70 w 171"/>
                    <a:gd name="T71" fmla="*/ 169 h 172"/>
                    <a:gd name="T72" fmla="*/ 48 w 171"/>
                    <a:gd name="T73" fmla="*/ 163 h 172"/>
                    <a:gd name="T74" fmla="*/ 53 w 171"/>
                    <a:gd name="T75" fmla="*/ 147 h 172"/>
                    <a:gd name="T76" fmla="*/ 33 w 171"/>
                    <a:gd name="T77" fmla="*/ 151 h 172"/>
                    <a:gd name="T78" fmla="*/ 29 w 171"/>
                    <a:gd name="T79" fmla="*/ 150 h 172"/>
                    <a:gd name="T80" fmla="*/ 15 w 171"/>
                    <a:gd name="T81" fmla="*/ 132 h 172"/>
                    <a:gd name="T82" fmla="*/ 27 w 171"/>
                    <a:gd name="T83" fmla="*/ 122 h 172"/>
                    <a:gd name="T84" fmla="*/ 8 w 171"/>
                    <a:gd name="T85" fmla="*/ 115 h 172"/>
                    <a:gd name="T86" fmla="*/ 6 w 171"/>
                    <a:gd name="T87" fmla="*/ 114 h 172"/>
                    <a:gd name="T88" fmla="*/ 0 w 171"/>
                    <a:gd name="T89" fmla="*/ 91 h 172"/>
                    <a:gd name="T90" fmla="*/ 16 w 171"/>
                    <a:gd name="T91" fmla="*/ 88 h 172"/>
                    <a:gd name="T92" fmla="*/ 4 w 171"/>
                    <a:gd name="T93" fmla="*/ 74 h 172"/>
                    <a:gd name="T94" fmla="*/ 2 w 171"/>
                    <a:gd name="T95" fmla="*/ 70 h 172"/>
                    <a:gd name="T96" fmla="*/ 10 w 171"/>
                    <a:gd name="T97" fmla="*/ 47 h 172"/>
                    <a:gd name="T98" fmla="*/ 25 w 171"/>
                    <a:gd name="T99" fmla="*/ 53 h 172"/>
                    <a:gd name="T100" fmla="*/ 21 w 171"/>
                    <a:gd name="T101" fmla="*/ 34 h 172"/>
                    <a:gd name="T102" fmla="*/ 21 w 171"/>
                    <a:gd name="T103" fmla="*/ 30 h 172"/>
                    <a:gd name="T104" fmla="*/ 38 w 171"/>
                    <a:gd name="T105" fmla="*/ 15 h 172"/>
                    <a:gd name="T106" fmla="*/ 50 w 171"/>
                    <a:gd name="T107" fmla="*/ 28 h 172"/>
                    <a:gd name="T108" fmla="*/ 55 w 171"/>
                    <a:gd name="T109" fmla="*/ 9 h 172"/>
                    <a:gd name="T110" fmla="*/ 58 w 171"/>
                    <a:gd name="T111" fmla="*/ 5 h 172"/>
                    <a:gd name="T112" fmla="*/ 80 w 171"/>
                    <a:gd name="T113"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 h="172">
                      <a:moveTo>
                        <a:pt x="87" y="58"/>
                      </a:moveTo>
                      <a:lnTo>
                        <a:pt x="76" y="59"/>
                      </a:lnTo>
                      <a:lnTo>
                        <a:pt x="67" y="66"/>
                      </a:lnTo>
                      <a:lnTo>
                        <a:pt x="61" y="75"/>
                      </a:lnTo>
                      <a:lnTo>
                        <a:pt x="58" y="84"/>
                      </a:lnTo>
                      <a:lnTo>
                        <a:pt x="59" y="95"/>
                      </a:lnTo>
                      <a:lnTo>
                        <a:pt x="65" y="105"/>
                      </a:lnTo>
                      <a:lnTo>
                        <a:pt x="74" y="112"/>
                      </a:lnTo>
                      <a:lnTo>
                        <a:pt x="84" y="114"/>
                      </a:lnTo>
                      <a:lnTo>
                        <a:pt x="95" y="113"/>
                      </a:lnTo>
                      <a:lnTo>
                        <a:pt x="104" y="106"/>
                      </a:lnTo>
                      <a:lnTo>
                        <a:pt x="110" y="97"/>
                      </a:lnTo>
                      <a:lnTo>
                        <a:pt x="113" y="88"/>
                      </a:lnTo>
                      <a:lnTo>
                        <a:pt x="112" y="77"/>
                      </a:lnTo>
                      <a:lnTo>
                        <a:pt x="107" y="67"/>
                      </a:lnTo>
                      <a:lnTo>
                        <a:pt x="97" y="60"/>
                      </a:lnTo>
                      <a:lnTo>
                        <a:pt x="87" y="58"/>
                      </a:lnTo>
                      <a:close/>
                      <a:moveTo>
                        <a:pt x="80" y="0"/>
                      </a:moveTo>
                      <a:lnTo>
                        <a:pt x="82" y="3"/>
                      </a:lnTo>
                      <a:lnTo>
                        <a:pt x="84" y="17"/>
                      </a:lnTo>
                      <a:lnTo>
                        <a:pt x="95" y="17"/>
                      </a:lnTo>
                      <a:lnTo>
                        <a:pt x="99" y="4"/>
                      </a:lnTo>
                      <a:lnTo>
                        <a:pt x="100" y="2"/>
                      </a:lnTo>
                      <a:lnTo>
                        <a:pt x="101" y="3"/>
                      </a:lnTo>
                      <a:lnTo>
                        <a:pt x="121" y="9"/>
                      </a:lnTo>
                      <a:lnTo>
                        <a:pt x="124" y="9"/>
                      </a:lnTo>
                      <a:lnTo>
                        <a:pt x="124" y="12"/>
                      </a:lnTo>
                      <a:lnTo>
                        <a:pt x="118" y="25"/>
                      </a:lnTo>
                      <a:lnTo>
                        <a:pt x="128" y="32"/>
                      </a:lnTo>
                      <a:lnTo>
                        <a:pt x="138" y="21"/>
                      </a:lnTo>
                      <a:lnTo>
                        <a:pt x="139" y="20"/>
                      </a:lnTo>
                      <a:lnTo>
                        <a:pt x="142" y="22"/>
                      </a:lnTo>
                      <a:lnTo>
                        <a:pt x="155" y="37"/>
                      </a:lnTo>
                      <a:lnTo>
                        <a:pt x="156" y="40"/>
                      </a:lnTo>
                      <a:lnTo>
                        <a:pt x="155" y="41"/>
                      </a:lnTo>
                      <a:lnTo>
                        <a:pt x="145" y="50"/>
                      </a:lnTo>
                      <a:lnTo>
                        <a:pt x="150" y="59"/>
                      </a:lnTo>
                      <a:lnTo>
                        <a:pt x="163" y="57"/>
                      </a:lnTo>
                      <a:lnTo>
                        <a:pt x="165" y="55"/>
                      </a:lnTo>
                      <a:lnTo>
                        <a:pt x="165" y="58"/>
                      </a:lnTo>
                      <a:lnTo>
                        <a:pt x="171" y="79"/>
                      </a:lnTo>
                      <a:lnTo>
                        <a:pt x="171" y="81"/>
                      </a:lnTo>
                      <a:lnTo>
                        <a:pt x="168" y="81"/>
                      </a:lnTo>
                      <a:lnTo>
                        <a:pt x="155" y="84"/>
                      </a:lnTo>
                      <a:lnTo>
                        <a:pt x="154" y="95"/>
                      </a:lnTo>
                      <a:lnTo>
                        <a:pt x="167" y="98"/>
                      </a:lnTo>
                      <a:lnTo>
                        <a:pt x="169" y="100"/>
                      </a:lnTo>
                      <a:lnTo>
                        <a:pt x="169" y="102"/>
                      </a:lnTo>
                      <a:lnTo>
                        <a:pt x="163" y="122"/>
                      </a:lnTo>
                      <a:lnTo>
                        <a:pt x="162" y="125"/>
                      </a:lnTo>
                      <a:lnTo>
                        <a:pt x="159" y="123"/>
                      </a:lnTo>
                      <a:lnTo>
                        <a:pt x="146" y="119"/>
                      </a:lnTo>
                      <a:lnTo>
                        <a:pt x="141" y="127"/>
                      </a:lnTo>
                      <a:lnTo>
                        <a:pt x="150" y="138"/>
                      </a:lnTo>
                      <a:lnTo>
                        <a:pt x="151" y="140"/>
                      </a:lnTo>
                      <a:lnTo>
                        <a:pt x="150" y="142"/>
                      </a:lnTo>
                      <a:lnTo>
                        <a:pt x="134" y="156"/>
                      </a:lnTo>
                      <a:lnTo>
                        <a:pt x="133" y="157"/>
                      </a:lnTo>
                      <a:lnTo>
                        <a:pt x="131" y="155"/>
                      </a:lnTo>
                      <a:lnTo>
                        <a:pt x="121" y="144"/>
                      </a:lnTo>
                      <a:lnTo>
                        <a:pt x="112" y="150"/>
                      </a:lnTo>
                      <a:lnTo>
                        <a:pt x="116" y="164"/>
                      </a:lnTo>
                      <a:lnTo>
                        <a:pt x="116" y="165"/>
                      </a:lnTo>
                      <a:lnTo>
                        <a:pt x="113" y="167"/>
                      </a:lnTo>
                      <a:lnTo>
                        <a:pt x="93" y="170"/>
                      </a:lnTo>
                      <a:lnTo>
                        <a:pt x="91" y="172"/>
                      </a:lnTo>
                      <a:lnTo>
                        <a:pt x="90" y="169"/>
                      </a:lnTo>
                      <a:lnTo>
                        <a:pt x="87" y="155"/>
                      </a:lnTo>
                      <a:lnTo>
                        <a:pt x="76" y="155"/>
                      </a:lnTo>
                      <a:lnTo>
                        <a:pt x="72" y="168"/>
                      </a:lnTo>
                      <a:lnTo>
                        <a:pt x="71" y="170"/>
                      </a:lnTo>
                      <a:lnTo>
                        <a:pt x="70" y="169"/>
                      </a:lnTo>
                      <a:lnTo>
                        <a:pt x="50" y="163"/>
                      </a:lnTo>
                      <a:lnTo>
                        <a:pt x="48" y="163"/>
                      </a:lnTo>
                      <a:lnTo>
                        <a:pt x="48" y="160"/>
                      </a:lnTo>
                      <a:lnTo>
                        <a:pt x="53" y="147"/>
                      </a:lnTo>
                      <a:lnTo>
                        <a:pt x="44" y="140"/>
                      </a:lnTo>
                      <a:lnTo>
                        <a:pt x="33" y="151"/>
                      </a:lnTo>
                      <a:lnTo>
                        <a:pt x="32" y="152"/>
                      </a:lnTo>
                      <a:lnTo>
                        <a:pt x="29" y="150"/>
                      </a:lnTo>
                      <a:lnTo>
                        <a:pt x="16" y="135"/>
                      </a:lnTo>
                      <a:lnTo>
                        <a:pt x="15" y="132"/>
                      </a:lnTo>
                      <a:lnTo>
                        <a:pt x="16" y="131"/>
                      </a:lnTo>
                      <a:lnTo>
                        <a:pt x="27" y="122"/>
                      </a:lnTo>
                      <a:lnTo>
                        <a:pt x="21" y="113"/>
                      </a:lnTo>
                      <a:lnTo>
                        <a:pt x="8" y="115"/>
                      </a:lnTo>
                      <a:lnTo>
                        <a:pt x="6" y="117"/>
                      </a:lnTo>
                      <a:lnTo>
                        <a:pt x="6" y="114"/>
                      </a:lnTo>
                      <a:lnTo>
                        <a:pt x="0" y="93"/>
                      </a:lnTo>
                      <a:lnTo>
                        <a:pt x="0" y="91"/>
                      </a:lnTo>
                      <a:lnTo>
                        <a:pt x="3" y="91"/>
                      </a:lnTo>
                      <a:lnTo>
                        <a:pt x="16" y="88"/>
                      </a:lnTo>
                      <a:lnTo>
                        <a:pt x="17" y="77"/>
                      </a:lnTo>
                      <a:lnTo>
                        <a:pt x="4" y="74"/>
                      </a:lnTo>
                      <a:lnTo>
                        <a:pt x="2" y="72"/>
                      </a:lnTo>
                      <a:lnTo>
                        <a:pt x="2" y="70"/>
                      </a:lnTo>
                      <a:lnTo>
                        <a:pt x="8" y="50"/>
                      </a:lnTo>
                      <a:lnTo>
                        <a:pt x="10" y="47"/>
                      </a:lnTo>
                      <a:lnTo>
                        <a:pt x="12" y="49"/>
                      </a:lnTo>
                      <a:lnTo>
                        <a:pt x="25" y="53"/>
                      </a:lnTo>
                      <a:lnTo>
                        <a:pt x="31" y="45"/>
                      </a:lnTo>
                      <a:lnTo>
                        <a:pt x="21" y="34"/>
                      </a:lnTo>
                      <a:lnTo>
                        <a:pt x="20" y="32"/>
                      </a:lnTo>
                      <a:lnTo>
                        <a:pt x="21" y="30"/>
                      </a:lnTo>
                      <a:lnTo>
                        <a:pt x="37" y="16"/>
                      </a:lnTo>
                      <a:lnTo>
                        <a:pt x="38" y="15"/>
                      </a:lnTo>
                      <a:lnTo>
                        <a:pt x="40" y="17"/>
                      </a:lnTo>
                      <a:lnTo>
                        <a:pt x="50" y="28"/>
                      </a:lnTo>
                      <a:lnTo>
                        <a:pt x="59" y="22"/>
                      </a:lnTo>
                      <a:lnTo>
                        <a:pt x="55" y="9"/>
                      </a:lnTo>
                      <a:lnTo>
                        <a:pt x="55" y="7"/>
                      </a:lnTo>
                      <a:lnTo>
                        <a:pt x="58" y="5"/>
                      </a:lnTo>
                      <a:lnTo>
                        <a:pt x="78" y="2"/>
                      </a:lnTo>
                      <a:lnTo>
                        <a:pt x="80" y="0"/>
                      </a:lnTo>
                      <a:close/>
                    </a:path>
                  </a:pathLst>
                </a:custGeom>
                <a:solidFill>
                  <a:schemeClr val="accent6"/>
                </a:solidFill>
                <a:ln w="0">
                  <a:noFill/>
                  <a:prstDash val="solid"/>
                  <a:round/>
                  <a:headEnd/>
                  <a:tailEnd/>
                </a:ln>
              </p:spPr>
              <p:txBody>
                <a:bodyPr/>
                <a:lstStyle/>
                <a:p>
                  <a:pPr eaLnBrk="1" fontAlgn="auto" hangingPunct="1">
                    <a:spcBef>
                      <a:spcPts val="0"/>
                    </a:spcBef>
                    <a:spcAft>
                      <a:spcPts val="0"/>
                    </a:spcAft>
                    <a:defRPr/>
                  </a:pPr>
                  <a:endParaRPr lang="en-US" dirty="0">
                    <a:latin typeface="+mn-lt"/>
                    <a:cs typeface="+mn-cs"/>
                  </a:endParaRPr>
                </a:p>
              </p:txBody>
            </p:sp>
            <p:sp>
              <p:nvSpPr>
                <p:cNvPr id="46" name="Freeform 203">
                  <a:extLst>
                    <a:ext uri="{FF2B5EF4-FFF2-40B4-BE49-F238E27FC236}">
                      <a16:creationId xmlns:a16="http://schemas.microsoft.com/office/drawing/2014/main" id="{8F5084BC-1229-4BB8-985A-47D31715F672}"/>
                    </a:ext>
                  </a:extLst>
                </p:cNvPr>
                <p:cNvSpPr>
                  <a:spLocks noEditPoints="1"/>
                </p:cNvSpPr>
                <p:nvPr/>
              </p:nvSpPr>
              <p:spPr bwMode="auto">
                <a:xfrm>
                  <a:off x="1529307" y="1801746"/>
                  <a:ext cx="851664" cy="851751"/>
                </a:xfrm>
                <a:custGeom>
                  <a:avLst/>
                  <a:gdLst>
                    <a:gd name="T0" fmla="*/ 2147483646 w 613"/>
                    <a:gd name="T1" fmla="*/ 2147483646 h 613"/>
                    <a:gd name="T2" fmla="*/ 2147483646 w 613"/>
                    <a:gd name="T3" fmla="*/ 2147483646 h 613"/>
                    <a:gd name="T4" fmla="*/ 2147483646 w 613"/>
                    <a:gd name="T5" fmla="*/ 2147483646 h 613"/>
                    <a:gd name="T6" fmla="*/ 2147483646 w 613"/>
                    <a:gd name="T7" fmla="*/ 2147483646 h 613"/>
                    <a:gd name="T8" fmla="*/ 2147483646 w 613"/>
                    <a:gd name="T9" fmla="*/ 2147483646 h 613"/>
                    <a:gd name="T10" fmla="*/ 2147483646 w 613"/>
                    <a:gd name="T11" fmla="*/ 2147483646 h 613"/>
                    <a:gd name="T12" fmla="*/ 2147483646 w 613"/>
                    <a:gd name="T13" fmla="*/ 2147483646 h 613"/>
                    <a:gd name="T14" fmla="*/ 2147483646 w 613"/>
                    <a:gd name="T15" fmla="*/ 2147483646 h 613"/>
                    <a:gd name="T16" fmla="*/ 2147483646 w 613"/>
                    <a:gd name="T17" fmla="*/ 2147483646 h 613"/>
                    <a:gd name="T18" fmla="*/ 2147483646 w 613"/>
                    <a:gd name="T19" fmla="*/ 2147483646 h 613"/>
                    <a:gd name="T20" fmla="*/ 2147483646 w 613"/>
                    <a:gd name="T21" fmla="*/ 2147483646 h 613"/>
                    <a:gd name="T22" fmla="*/ 2147483646 w 613"/>
                    <a:gd name="T23" fmla="*/ 2147483646 h 613"/>
                    <a:gd name="T24" fmla="*/ 2147483646 w 613"/>
                    <a:gd name="T25" fmla="*/ 2147483646 h 613"/>
                    <a:gd name="T26" fmla="*/ 2147483646 w 613"/>
                    <a:gd name="T27" fmla="*/ 2147483646 h 613"/>
                    <a:gd name="T28" fmla="*/ 2147483646 w 613"/>
                    <a:gd name="T29" fmla="*/ 0 h 613"/>
                    <a:gd name="T30" fmla="*/ 2147483646 w 613"/>
                    <a:gd name="T31" fmla="*/ 2147483646 h 613"/>
                    <a:gd name="T32" fmla="*/ 2147483646 w 613"/>
                    <a:gd name="T33" fmla="*/ 2147483646 h 613"/>
                    <a:gd name="T34" fmla="*/ 2147483646 w 613"/>
                    <a:gd name="T35" fmla="*/ 2147483646 h 613"/>
                    <a:gd name="T36" fmla="*/ 2147483646 w 613"/>
                    <a:gd name="T37" fmla="*/ 2147483646 h 613"/>
                    <a:gd name="T38" fmla="*/ 2147483646 w 613"/>
                    <a:gd name="T39" fmla="*/ 2147483646 h 613"/>
                    <a:gd name="T40" fmla="*/ 2147483646 w 613"/>
                    <a:gd name="T41" fmla="*/ 2147483646 h 613"/>
                    <a:gd name="T42" fmla="*/ 2147483646 w 613"/>
                    <a:gd name="T43" fmla="*/ 2147483646 h 613"/>
                    <a:gd name="T44" fmla="*/ 2147483646 w 613"/>
                    <a:gd name="T45" fmla="*/ 2147483646 h 613"/>
                    <a:gd name="T46" fmla="*/ 2147483646 w 613"/>
                    <a:gd name="T47" fmla="*/ 2147483646 h 613"/>
                    <a:gd name="T48" fmla="*/ 2147483646 w 613"/>
                    <a:gd name="T49" fmla="*/ 2147483646 h 613"/>
                    <a:gd name="T50" fmla="*/ 2147483646 w 613"/>
                    <a:gd name="T51" fmla="*/ 2147483646 h 613"/>
                    <a:gd name="T52" fmla="*/ 2147483646 w 613"/>
                    <a:gd name="T53" fmla="*/ 2147483646 h 613"/>
                    <a:gd name="T54" fmla="*/ 2147483646 w 613"/>
                    <a:gd name="T55" fmla="*/ 2147483646 h 613"/>
                    <a:gd name="T56" fmla="*/ 2147483646 w 613"/>
                    <a:gd name="T57" fmla="*/ 2147483646 h 613"/>
                    <a:gd name="T58" fmla="*/ 2147483646 w 613"/>
                    <a:gd name="T59" fmla="*/ 2147483646 h 613"/>
                    <a:gd name="T60" fmla="*/ 2147483646 w 613"/>
                    <a:gd name="T61" fmla="*/ 2147483646 h 613"/>
                    <a:gd name="T62" fmla="*/ 0 w 613"/>
                    <a:gd name="T63" fmla="*/ 2147483646 h 613"/>
                    <a:gd name="T64" fmla="*/ 2147483646 w 613"/>
                    <a:gd name="T65" fmla="*/ 2147483646 h 613"/>
                    <a:gd name="T66" fmla="*/ 2147483646 w 613"/>
                    <a:gd name="T67" fmla="*/ 2147483646 h 613"/>
                    <a:gd name="T68" fmla="*/ 2147483646 w 613"/>
                    <a:gd name="T69" fmla="*/ 2147483646 h 613"/>
                    <a:gd name="T70" fmla="*/ 2147483646 w 613"/>
                    <a:gd name="T71" fmla="*/ 2147483646 h 613"/>
                    <a:gd name="T72" fmla="*/ 2147483646 w 613"/>
                    <a:gd name="T73" fmla="*/ 2147483646 h 613"/>
                    <a:gd name="T74" fmla="*/ 2147483646 w 613"/>
                    <a:gd name="T75" fmla="*/ 0 h 6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13"/>
                    <a:gd name="T115" fmla="*/ 0 h 613"/>
                    <a:gd name="T116" fmla="*/ 613 w 613"/>
                    <a:gd name="T117" fmla="*/ 613 h 6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13" h="613">
                      <a:moveTo>
                        <a:pt x="306" y="176"/>
                      </a:moveTo>
                      <a:lnTo>
                        <a:pt x="276" y="180"/>
                      </a:lnTo>
                      <a:lnTo>
                        <a:pt x="248" y="189"/>
                      </a:lnTo>
                      <a:lnTo>
                        <a:pt x="224" y="205"/>
                      </a:lnTo>
                      <a:lnTo>
                        <a:pt x="203" y="225"/>
                      </a:lnTo>
                      <a:lnTo>
                        <a:pt x="189" y="249"/>
                      </a:lnTo>
                      <a:lnTo>
                        <a:pt x="178" y="277"/>
                      </a:lnTo>
                      <a:lnTo>
                        <a:pt x="174" y="307"/>
                      </a:lnTo>
                      <a:lnTo>
                        <a:pt x="178" y="337"/>
                      </a:lnTo>
                      <a:lnTo>
                        <a:pt x="187" y="364"/>
                      </a:lnTo>
                      <a:lnTo>
                        <a:pt x="203" y="389"/>
                      </a:lnTo>
                      <a:lnTo>
                        <a:pt x="224" y="409"/>
                      </a:lnTo>
                      <a:lnTo>
                        <a:pt x="248" y="425"/>
                      </a:lnTo>
                      <a:lnTo>
                        <a:pt x="276" y="435"/>
                      </a:lnTo>
                      <a:lnTo>
                        <a:pt x="306" y="439"/>
                      </a:lnTo>
                      <a:lnTo>
                        <a:pt x="337" y="435"/>
                      </a:lnTo>
                      <a:lnTo>
                        <a:pt x="364" y="425"/>
                      </a:lnTo>
                      <a:lnTo>
                        <a:pt x="388" y="409"/>
                      </a:lnTo>
                      <a:lnTo>
                        <a:pt x="409" y="389"/>
                      </a:lnTo>
                      <a:lnTo>
                        <a:pt x="424" y="364"/>
                      </a:lnTo>
                      <a:lnTo>
                        <a:pt x="434" y="337"/>
                      </a:lnTo>
                      <a:lnTo>
                        <a:pt x="437" y="307"/>
                      </a:lnTo>
                      <a:lnTo>
                        <a:pt x="434" y="277"/>
                      </a:lnTo>
                      <a:lnTo>
                        <a:pt x="424" y="249"/>
                      </a:lnTo>
                      <a:lnTo>
                        <a:pt x="409" y="225"/>
                      </a:lnTo>
                      <a:lnTo>
                        <a:pt x="388" y="205"/>
                      </a:lnTo>
                      <a:lnTo>
                        <a:pt x="364" y="189"/>
                      </a:lnTo>
                      <a:lnTo>
                        <a:pt x="337" y="180"/>
                      </a:lnTo>
                      <a:lnTo>
                        <a:pt x="306" y="176"/>
                      </a:lnTo>
                      <a:close/>
                      <a:moveTo>
                        <a:pt x="262" y="0"/>
                      </a:moveTo>
                      <a:lnTo>
                        <a:pt x="350" y="0"/>
                      </a:lnTo>
                      <a:lnTo>
                        <a:pt x="350" y="92"/>
                      </a:lnTo>
                      <a:lnTo>
                        <a:pt x="379" y="100"/>
                      </a:lnTo>
                      <a:lnTo>
                        <a:pt x="405" y="112"/>
                      </a:lnTo>
                      <a:lnTo>
                        <a:pt x="430" y="126"/>
                      </a:lnTo>
                      <a:lnTo>
                        <a:pt x="494" y="62"/>
                      </a:lnTo>
                      <a:lnTo>
                        <a:pt x="555" y="123"/>
                      </a:lnTo>
                      <a:lnTo>
                        <a:pt x="490" y="189"/>
                      </a:lnTo>
                      <a:lnTo>
                        <a:pt x="508" y="224"/>
                      </a:lnTo>
                      <a:lnTo>
                        <a:pt x="520" y="263"/>
                      </a:lnTo>
                      <a:lnTo>
                        <a:pt x="613" y="263"/>
                      </a:lnTo>
                      <a:lnTo>
                        <a:pt x="613" y="351"/>
                      </a:lnTo>
                      <a:lnTo>
                        <a:pt x="520" y="351"/>
                      </a:lnTo>
                      <a:lnTo>
                        <a:pt x="513" y="377"/>
                      </a:lnTo>
                      <a:lnTo>
                        <a:pt x="503" y="404"/>
                      </a:lnTo>
                      <a:lnTo>
                        <a:pt x="489" y="427"/>
                      </a:lnTo>
                      <a:lnTo>
                        <a:pt x="555" y="495"/>
                      </a:lnTo>
                      <a:lnTo>
                        <a:pt x="494" y="557"/>
                      </a:lnTo>
                      <a:lnTo>
                        <a:pt x="427" y="490"/>
                      </a:lnTo>
                      <a:lnTo>
                        <a:pt x="402" y="503"/>
                      </a:lnTo>
                      <a:lnTo>
                        <a:pt x="377" y="514"/>
                      </a:lnTo>
                      <a:lnTo>
                        <a:pt x="350" y="521"/>
                      </a:lnTo>
                      <a:lnTo>
                        <a:pt x="350" y="613"/>
                      </a:lnTo>
                      <a:lnTo>
                        <a:pt x="262" y="613"/>
                      </a:lnTo>
                      <a:lnTo>
                        <a:pt x="262" y="521"/>
                      </a:lnTo>
                      <a:lnTo>
                        <a:pt x="224" y="510"/>
                      </a:lnTo>
                      <a:lnTo>
                        <a:pt x="189" y="491"/>
                      </a:lnTo>
                      <a:lnTo>
                        <a:pt x="122" y="557"/>
                      </a:lnTo>
                      <a:lnTo>
                        <a:pt x="60" y="495"/>
                      </a:lnTo>
                      <a:lnTo>
                        <a:pt x="124" y="430"/>
                      </a:lnTo>
                      <a:lnTo>
                        <a:pt x="110" y="406"/>
                      </a:lnTo>
                      <a:lnTo>
                        <a:pt x="100" y="379"/>
                      </a:lnTo>
                      <a:lnTo>
                        <a:pt x="92" y="351"/>
                      </a:lnTo>
                      <a:lnTo>
                        <a:pt x="0" y="351"/>
                      </a:lnTo>
                      <a:lnTo>
                        <a:pt x="0" y="263"/>
                      </a:lnTo>
                      <a:lnTo>
                        <a:pt x="92" y="263"/>
                      </a:lnTo>
                      <a:lnTo>
                        <a:pt x="98" y="236"/>
                      </a:lnTo>
                      <a:lnTo>
                        <a:pt x="110" y="210"/>
                      </a:lnTo>
                      <a:lnTo>
                        <a:pt x="123" y="186"/>
                      </a:lnTo>
                      <a:lnTo>
                        <a:pt x="60" y="123"/>
                      </a:lnTo>
                      <a:lnTo>
                        <a:pt x="122" y="62"/>
                      </a:lnTo>
                      <a:lnTo>
                        <a:pt x="185" y="125"/>
                      </a:lnTo>
                      <a:lnTo>
                        <a:pt x="210" y="110"/>
                      </a:lnTo>
                      <a:lnTo>
                        <a:pt x="234" y="100"/>
                      </a:lnTo>
                      <a:lnTo>
                        <a:pt x="262" y="92"/>
                      </a:lnTo>
                      <a:lnTo>
                        <a:pt x="262" y="0"/>
                      </a:lnTo>
                      <a:close/>
                    </a:path>
                  </a:pathLst>
                </a:custGeom>
                <a:solidFill>
                  <a:srgbClr val="F6AA32"/>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s-ES"/>
                </a:p>
              </p:txBody>
            </p:sp>
            <p:sp>
              <p:nvSpPr>
                <p:cNvPr id="47" name="Freeform 204">
                  <a:extLst>
                    <a:ext uri="{FF2B5EF4-FFF2-40B4-BE49-F238E27FC236}">
                      <a16:creationId xmlns:a16="http://schemas.microsoft.com/office/drawing/2014/main" id="{70792930-7DB4-40B6-96FC-E359BCFA7BA8}"/>
                    </a:ext>
                  </a:extLst>
                </p:cNvPr>
                <p:cNvSpPr>
                  <a:spLocks noEditPoints="1"/>
                </p:cNvSpPr>
                <p:nvPr/>
              </p:nvSpPr>
              <p:spPr bwMode="auto">
                <a:xfrm>
                  <a:off x="1360460" y="2595255"/>
                  <a:ext cx="850900" cy="850992"/>
                </a:xfrm>
                <a:custGeom>
                  <a:avLst/>
                  <a:gdLst>
                    <a:gd name="T0" fmla="*/ 277 w 613"/>
                    <a:gd name="T1" fmla="*/ 178 h 613"/>
                    <a:gd name="T2" fmla="*/ 224 w 613"/>
                    <a:gd name="T3" fmla="*/ 204 h 613"/>
                    <a:gd name="T4" fmla="*/ 189 w 613"/>
                    <a:gd name="T5" fmla="*/ 249 h 613"/>
                    <a:gd name="T6" fmla="*/ 176 w 613"/>
                    <a:gd name="T7" fmla="*/ 307 h 613"/>
                    <a:gd name="T8" fmla="*/ 189 w 613"/>
                    <a:gd name="T9" fmla="*/ 364 h 613"/>
                    <a:gd name="T10" fmla="*/ 224 w 613"/>
                    <a:gd name="T11" fmla="*/ 409 h 613"/>
                    <a:gd name="T12" fmla="*/ 277 w 613"/>
                    <a:gd name="T13" fmla="*/ 434 h 613"/>
                    <a:gd name="T14" fmla="*/ 337 w 613"/>
                    <a:gd name="T15" fmla="*/ 434 h 613"/>
                    <a:gd name="T16" fmla="*/ 389 w 613"/>
                    <a:gd name="T17" fmla="*/ 409 h 613"/>
                    <a:gd name="T18" fmla="*/ 425 w 613"/>
                    <a:gd name="T19" fmla="*/ 364 h 613"/>
                    <a:gd name="T20" fmla="*/ 438 w 613"/>
                    <a:gd name="T21" fmla="*/ 307 h 613"/>
                    <a:gd name="T22" fmla="*/ 425 w 613"/>
                    <a:gd name="T23" fmla="*/ 249 h 613"/>
                    <a:gd name="T24" fmla="*/ 389 w 613"/>
                    <a:gd name="T25" fmla="*/ 204 h 613"/>
                    <a:gd name="T26" fmla="*/ 337 w 613"/>
                    <a:gd name="T27" fmla="*/ 178 h 613"/>
                    <a:gd name="T28" fmla="*/ 262 w 613"/>
                    <a:gd name="T29" fmla="*/ 0 h 613"/>
                    <a:gd name="T30" fmla="*/ 350 w 613"/>
                    <a:gd name="T31" fmla="*/ 92 h 613"/>
                    <a:gd name="T32" fmla="*/ 405 w 613"/>
                    <a:gd name="T33" fmla="*/ 111 h 613"/>
                    <a:gd name="T34" fmla="*/ 494 w 613"/>
                    <a:gd name="T35" fmla="*/ 60 h 613"/>
                    <a:gd name="T36" fmla="*/ 491 w 613"/>
                    <a:gd name="T37" fmla="*/ 189 h 613"/>
                    <a:gd name="T38" fmla="*/ 521 w 613"/>
                    <a:gd name="T39" fmla="*/ 262 h 613"/>
                    <a:gd name="T40" fmla="*/ 613 w 613"/>
                    <a:gd name="T41" fmla="*/ 350 h 613"/>
                    <a:gd name="T42" fmla="*/ 514 w 613"/>
                    <a:gd name="T43" fmla="*/ 377 h 613"/>
                    <a:gd name="T44" fmla="*/ 489 w 613"/>
                    <a:gd name="T45" fmla="*/ 427 h 613"/>
                    <a:gd name="T46" fmla="*/ 494 w 613"/>
                    <a:gd name="T47" fmla="*/ 557 h 613"/>
                    <a:gd name="T48" fmla="*/ 404 w 613"/>
                    <a:gd name="T49" fmla="*/ 503 h 613"/>
                    <a:gd name="T50" fmla="*/ 350 w 613"/>
                    <a:gd name="T51" fmla="*/ 521 h 613"/>
                    <a:gd name="T52" fmla="*/ 262 w 613"/>
                    <a:gd name="T53" fmla="*/ 613 h 613"/>
                    <a:gd name="T54" fmla="*/ 224 w 613"/>
                    <a:gd name="T55" fmla="*/ 510 h 613"/>
                    <a:gd name="T56" fmla="*/ 123 w 613"/>
                    <a:gd name="T57" fmla="*/ 557 h 613"/>
                    <a:gd name="T58" fmla="*/ 126 w 613"/>
                    <a:gd name="T59" fmla="*/ 430 h 613"/>
                    <a:gd name="T60" fmla="*/ 100 w 613"/>
                    <a:gd name="T61" fmla="*/ 379 h 613"/>
                    <a:gd name="T62" fmla="*/ 0 w 613"/>
                    <a:gd name="T63" fmla="*/ 350 h 613"/>
                    <a:gd name="T64" fmla="*/ 92 w 613"/>
                    <a:gd name="T65" fmla="*/ 262 h 613"/>
                    <a:gd name="T66" fmla="*/ 110 w 613"/>
                    <a:gd name="T67" fmla="*/ 210 h 613"/>
                    <a:gd name="T68" fmla="*/ 60 w 613"/>
                    <a:gd name="T69" fmla="*/ 123 h 613"/>
                    <a:gd name="T70" fmla="*/ 186 w 613"/>
                    <a:gd name="T71" fmla="*/ 123 h 613"/>
                    <a:gd name="T72" fmla="*/ 236 w 613"/>
                    <a:gd name="T73" fmla="*/ 100 h 613"/>
                    <a:gd name="T74" fmla="*/ 262 w 613"/>
                    <a:gd name="T75" fmla="*/ 0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3" h="613">
                      <a:moveTo>
                        <a:pt x="307" y="174"/>
                      </a:moveTo>
                      <a:lnTo>
                        <a:pt x="277" y="178"/>
                      </a:lnTo>
                      <a:lnTo>
                        <a:pt x="249" y="189"/>
                      </a:lnTo>
                      <a:lnTo>
                        <a:pt x="224" y="204"/>
                      </a:lnTo>
                      <a:lnTo>
                        <a:pt x="205" y="224"/>
                      </a:lnTo>
                      <a:lnTo>
                        <a:pt x="189" y="249"/>
                      </a:lnTo>
                      <a:lnTo>
                        <a:pt x="178" y="276"/>
                      </a:lnTo>
                      <a:lnTo>
                        <a:pt x="176" y="307"/>
                      </a:lnTo>
                      <a:lnTo>
                        <a:pt x="178" y="337"/>
                      </a:lnTo>
                      <a:lnTo>
                        <a:pt x="189" y="364"/>
                      </a:lnTo>
                      <a:lnTo>
                        <a:pt x="205" y="389"/>
                      </a:lnTo>
                      <a:lnTo>
                        <a:pt x="224" y="409"/>
                      </a:lnTo>
                      <a:lnTo>
                        <a:pt x="249" y="424"/>
                      </a:lnTo>
                      <a:lnTo>
                        <a:pt x="277" y="434"/>
                      </a:lnTo>
                      <a:lnTo>
                        <a:pt x="307" y="438"/>
                      </a:lnTo>
                      <a:lnTo>
                        <a:pt x="337" y="434"/>
                      </a:lnTo>
                      <a:lnTo>
                        <a:pt x="364" y="424"/>
                      </a:lnTo>
                      <a:lnTo>
                        <a:pt x="389" y="409"/>
                      </a:lnTo>
                      <a:lnTo>
                        <a:pt x="409" y="389"/>
                      </a:lnTo>
                      <a:lnTo>
                        <a:pt x="425" y="364"/>
                      </a:lnTo>
                      <a:lnTo>
                        <a:pt x="435" y="337"/>
                      </a:lnTo>
                      <a:lnTo>
                        <a:pt x="438" y="307"/>
                      </a:lnTo>
                      <a:lnTo>
                        <a:pt x="435" y="276"/>
                      </a:lnTo>
                      <a:lnTo>
                        <a:pt x="425" y="249"/>
                      </a:lnTo>
                      <a:lnTo>
                        <a:pt x="409" y="224"/>
                      </a:lnTo>
                      <a:lnTo>
                        <a:pt x="389" y="204"/>
                      </a:lnTo>
                      <a:lnTo>
                        <a:pt x="364" y="189"/>
                      </a:lnTo>
                      <a:lnTo>
                        <a:pt x="337" y="178"/>
                      </a:lnTo>
                      <a:lnTo>
                        <a:pt x="307" y="174"/>
                      </a:lnTo>
                      <a:close/>
                      <a:moveTo>
                        <a:pt x="262" y="0"/>
                      </a:moveTo>
                      <a:lnTo>
                        <a:pt x="350" y="0"/>
                      </a:lnTo>
                      <a:lnTo>
                        <a:pt x="350" y="92"/>
                      </a:lnTo>
                      <a:lnTo>
                        <a:pt x="379" y="100"/>
                      </a:lnTo>
                      <a:lnTo>
                        <a:pt x="405" y="111"/>
                      </a:lnTo>
                      <a:lnTo>
                        <a:pt x="430" y="126"/>
                      </a:lnTo>
                      <a:lnTo>
                        <a:pt x="494" y="60"/>
                      </a:lnTo>
                      <a:lnTo>
                        <a:pt x="557" y="123"/>
                      </a:lnTo>
                      <a:lnTo>
                        <a:pt x="491" y="189"/>
                      </a:lnTo>
                      <a:lnTo>
                        <a:pt x="510" y="224"/>
                      </a:lnTo>
                      <a:lnTo>
                        <a:pt x="521" y="262"/>
                      </a:lnTo>
                      <a:lnTo>
                        <a:pt x="613" y="262"/>
                      </a:lnTo>
                      <a:lnTo>
                        <a:pt x="613" y="350"/>
                      </a:lnTo>
                      <a:lnTo>
                        <a:pt x="521" y="350"/>
                      </a:lnTo>
                      <a:lnTo>
                        <a:pt x="514" y="377"/>
                      </a:lnTo>
                      <a:lnTo>
                        <a:pt x="503" y="404"/>
                      </a:lnTo>
                      <a:lnTo>
                        <a:pt x="489" y="427"/>
                      </a:lnTo>
                      <a:lnTo>
                        <a:pt x="557" y="494"/>
                      </a:lnTo>
                      <a:lnTo>
                        <a:pt x="494" y="557"/>
                      </a:lnTo>
                      <a:lnTo>
                        <a:pt x="427" y="489"/>
                      </a:lnTo>
                      <a:lnTo>
                        <a:pt x="404" y="503"/>
                      </a:lnTo>
                      <a:lnTo>
                        <a:pt x="377" y="514"/>
                      </a:lnTo>
                      <a:lnTo>
                        <a:pt x="350" y="521"/>
                      </a:lnTo>
                      <a:lnTo>
                        <a:pt x="350" y="613"/>
                      </a:lnTo>
                      <a:lnTo>
                        <a:pt x="262" y="613"/>
                      </a:lnTo>
                      <a:lnTo>
                        <a:pt x="262" y="521"/>
                      </a:lnTo>
                      <a:lnTo>
                        <a:pt x="224" y="510"/>
                      </a:lnTo>
                      <a:lnTo>
                        <a:pt x="189" y="491"/>
                      </a:lnTo>
                      <a:lnTo>
                        <a:pt x="123" y="557"/>
                      </a:lnTo>
                      <a:lnTo>
                        <a:pt x="60" y="494"/>
                      </a:lnTo>
                      <a:lnTo>
                        <a:pt x="126" y="430"/>
                      </a:lnTo>
                      <a:lnTo>
                        <a:pt x="112" y="405"/>
                      </a:lnTo>
                      <a:lnTo>
                        <a:pt x="100" y="379"/>
                      </a:lnTo>
                      <a:lnTo>
                        <a:pt x="92" y="350"/>
                      </a:lnTo>
                      <a:lnTo>
                        <a:pt x="0" y="350"/>
                      </a:lnTo>
                      <a:lnTo>
                        <a:pt x="0" y="262"/>
                      </a:lnTo>
                      <a:lnTo>
                        <a:pt x="92" y="262"/>
                      </a:lnTo>
                      <a:lnTo>
                        <a:pt x="100" y="236"/>
                      </a:lnTo>
                      <a:lnTo>
                        <a:pt x="110" y="210"/>
                      </a:lnTo>
                      <a:lnTo>
                        <a:pt x="123" y="186"/>
                      </a:lnTo>
                      <a:lnTo>
                        <a:pt x="60" y="123"/>
                      </a:lnTo>
                      <a:lnTo>
                        <a:pt x="123" y="60"/>
                      </a:lnTo>
                      <a:lnTo>
                        <a:pt x="186" y="123"/>
                      </a:lnTo>
                      <a:lnTo>
                        <a:pt x="210" y="110"/>
                      </a:lnTo>
                      <a:lnTo>
                        <a:pt x="236" y="100"/>
                      </a:lnTo>
                      <a:lnTo>
                        <a:pt x="262" y="92"/>
                      </a:lnTo>
                      <a:lnTo>
                        <a:pt x="262" y="0"/>
                      </a:lnTo>
                      <a:close/>
                    </a:path>
                  </a:pathLst>
                </a:custGeom>
                <a:solidFill>
                  <a:schemeClr val="bg1">
                    <a:lumMod val="75000"/>
                  </a:schemeClr>
                </a:solidFill>
                <a:ln w="0">
                  <a:noFill/>
                  <a:prstDash val="solid"/>
                  <a:round/>
                  <a:headEnd/>
                  <a:tailEnd/>
                </a:ln>
              </p:spPr>
              <p:txBody>
                <a:bodyPr/>
                <a:lstStyle/>
                <a:p>
                  <a:pPr eaLnBrk="1" fontAlgn="auto" hangingPunct="1">
                    <a:spcBef>
                      <a:spcPts val="0"/>
                    </a:spcBef>
                    <a:spcAft>
                      <a:spcPts val="0"/>
                    </a:spcAft>
                    <a:defRPr/>
                  </a:pPr>
                  <a:endParaRPr lang="en-US" dirty="0">
                    <a:latin typeface="+mn-lt"/>
                    <a:cs typeface="+mn-cs"/>
                  </a:endParaRPr>
                </a:p>
              </p:txBody>
            </p:sp>
            <p:sp>
              <p:nvSpPr>
                <p:cNvPr id="48" name="Freeform 206">
                  <a:extLst>
                    <a:ext uri="{FF2B5EF4-FFF2-40B4-BE49-F238E27FC236}">
                      <a16:creationId xmlns:a16="http://schemas.microsoft.com/office/drawing/2014/main" id="{CAAB4DF4-0735-47C2-A8E2-135750B8CB61}"/>
                    </a:ext>
                  </a:extLst>
                </p:cNvPr>
                <p:cNvSpPr>
                  <a:spLocks noEditPoints="1"/>
                </p:cNvSpPr>
                <p:nvPr/>
              </p:nvSpPr>
              <p:spPr bwMode="auto">
                <a:xfrm>
                  <a:off x="3081195" y="1234839"/>
                  <a:ext cx="390404" cy="389054"/>
                </a:xfrm>
                <a:custGeom>
                  <a:avLst/>
                  <a:gdLst>
                    <a:gd name="T0" fmla="*/ 2147483646 w 281"/>
                    <a:gd name="T1" fmla="*/ 2147483646 h 280"/>
                    <a:gd name="T2" fmla="*/ 2147483646 w 281"/>
                    <a:gd name="T3" fmla="*/ 2147483646 h 280"/>
                    <a:gd name="T4" fmla="*/ 2147483646 w 281"/>
                    <a:gd name="T5" fmla="*/ 2147483646 h 280"/>
                    <a:gd name="T6" fmla="*/ 2147483646 w 281"/>
                    <a:gd name="T7" fmla="*/ 2147483646 h 280"/>
                    <a:gd name="T8" fmla="*/ 2147483646 w 281"/>
                    <a:gd name="T9" fmla="*/ 2147483646 h 280"/>
                    <a:gd name="T10" fmla="*/ 2147483646 w 281"/>
                    <a:gd name="T11" fmla="*/ 2147483646 h 280"/>
                    <a:gd name="T12" fmla="*/ 2147483646 w 281"/>
                    <a:gd name="T13" fmla="*/ 2147483646 h 280"/>
                    <a:gd name="T14" fmla="*/ 2147483646 w 281"/>
                    <a:gd name="T15" fmla="*/ 2147483646 h 280"/>
                    <a:gd name="T16" fmla="*/ 2147483646 w 281"/>
                    <a:gd name="T17" fmla="*/ 2147483646 h 280"/>
                    <a:gd name="T18" fmla="*/ 2147483646 w 281"/>
                    <a:gd name="T19" fmla="*/ 2147483646 h 280"/>
                    <a:gd name="T20" fmla="*/ 2147483646 w 281"/>
                    <a:gd name="T21" fmla="*/ 2147483646 h 280"/>
                    <a:gd name="T22" fmla="*/ 2147483646 w 281"/>
                    <a:gd name="T23" fmla="*/ 2147483646 h 280"/>
                    <a:gd name="T24" fmla="*/ 2147483646 w 281"/>
                    <a:gd name="T25" fmla="*/ 2147483646 h 280"/>
                    <a:gd name="T26" fmla="*/ 2147483646 w 281"/>
                    <a:gd name="T27" fmla="*/ 2147483646 h 280"/>
                    <a:gd name="T28" fmla="*/ 2147483646 w 281"/>
                    <a:gd name="T29" fmla="*/ 2147483646 h 280"/>
                    <a:gd name="T30" fmla="*/ 2147483646 w 281"/>
                    <a:gd name="T31" fmla="*/ 2147483646 h 280"/>
                    <a:gd name="T32" fmla="*/ 2147483646 w 281"/>
                    <a:gd name="T33" fmla="*/ 2147483646 h 280"/>
                    <a:gd name="T34" fmla="*/ 2147483646 w 281"/>
                    <a:gd name="T35" fmla="*/ 2147483646 h 280"/>
                    <a:gd name="T36" fmla="*/ 2147483646 w 281"/>
                    <a:gd name="T37" fmla="*/ 2147483646 h 280"/>
                    <a:gd name="T38" fmla="*/ 2147483646 w 281"/>
                    <a:gd name="T39" fmla="*/ 2147483646 h 280"/>
                    <a:gd name="T40" fmla="*/ 2147483646 w 281"/>
                    <a:gd name="T41" fmla="*/ 2147483646 h 280"/>
                    <a:gd name="T42" fmla="*/ 2147483646 w 281"/>
                    <a:gd name="T43" fmla="*/ 0 h 280"/>
                    <a:gd name="T44" fmla="*/ 2147483646 w 281"/>
                    <a:gd name="T45" fmla="*/ 0 h 280"/>
                    <a:gd name="T46" fmla="*/ 2147483646 w 281"/>
                    <a:gd name="T47" fmla="*/ 2147483646 h 280"/>
                    <a:gd name="T48" fmla="*/ 2147483646 w 281"/>
                    <a:gd name="T49" fmla="*/ 2147483646 h 280"/>
                    <a:gd name="T50" fmla="*/ 2147483646 w 281"/>
                    <a:gd name="T51" fmla="*/ 2147483646 h 280"/>
                    <a:gd name="T52" fmla="*/ 2147483646 w 281"/>
                    <a:gd name="T53" fmla="*/ 2147483646 h 280"/>
                    <a:gd name="T54" fmla="*/ 2147483646 w 281"/>
                    <a:gd name="T55" fmla="*/ 2147483646 h 280"/>
                    <a:gd name="T56" fmla="*/ 2147483646 w 281"/>
                    <a:gd name="T57" fmla="*/ 2147483646 h 280"/>
                    <a:gd name="T58" fmla="*/ 2147483646 w 281"/>
                    <a:gd name="T59" fmla="*/ 2147483646 h 280"/>
                    <a:gd name="T60" fmla="*/ 2147483646 w 281"/>
                    <a:gd name="T61" fmla="*/ 2147483646 h 280"/>
                    <a:gd name="T62" fmla="*/ 2147483646 w 281"/>
                    <a:gd name="T63" fmla="*/ 2147483646 h 280"/>
                    <a:gd name="T64" fmla="*/ 2147483646 w 281"/>
                    <a:gd name="T65" fmla="*/ 2147483646 h 280"/>
                    <a:gd name="T66" fmla="*/ 2147483646 w 281"/>
                    <a:gd name="T67" fmla="*/ 2147483646 h 280"/>
                    <a:gd name="T68" fmla="*/ 2147483646 w 281"/>
                    <a:gd name="T69" fmla="*/ 2147483646 h 280"/>
                    <a:gd name="T70" fmla="*/ 2147483646 w 281"/>
                    <a:gd name="T71" fmla="*/ 2147483646 h 280"/>
                    <a:gd name="T72" fmla="*/ 2147483646 w 281"/>
                    <a:gd name="T73" fmla="*/ 2147483646 h 280"/>
                    <a:gd name="T74" fmla="*/ 2147483646 w 281"/>
                    <a:gd name="T75" fmla="*/ 2147483646 h 280"/>
                    <a:gd name="T76" fmla="*/ 2147483646 w 281"/>
                    <a:gd name="T77" fmla="*/ 2147483646 h 280"/>
                    <a:gd name="T78" fmla="*/ 2147483646 w 281"/>
                    <a:gd name="T79" fmla="*/ 2147483646 h 280"/>
                    <a:gd name="T80" fmla="*/ 2147483646 w 281"/>
                    <a:gd name="T81" fmla="*/ 2147483646 h 280"/>
                    <a:gd name="T82" fmla="*/ 2147483646 w 281"/>
                    <a:gd name="T83" fmla="*/ 2147483646 h 280"/>
                    <a:gd name="T84" fmla="*/ 2147483646 w 281"/>
                    <a:gd name="T85" fmla="*/ 2147483646 h 280"/>
                    <a:gd name="T86" fmla="*/ 2147483646 w 281"/>
                    <a:gd name="T87" fmla="*/ 2147483646 h 280"/>
                    <a:gd name="T88" fmla="*/ 2147483646 w 281"/>
                    <a:gd name="T89" fmla="*/ 2147483646 h 280"/>
                    <a:gd name="T90" fmla="*/ 2147483646 w 281"/>
                    <a:gd name="T91" fmla="*/ 2147483646 h 280"/>
                    <a:gd name="T92" fmla="*/ 2147483646 w 281"/>
                    <a:gd name="T93" fmla="*/ 2147483646 h 280"/>
                    <a:gd name="T94" fmla="*/ 2147483646 w 281"/>
                    <a:gd name="T95" fmla="*/ 2147483646 h 280"/>
                    <a:gd name="T96" fmla="*/ 2147483646 w 281"/>
                    <a:gd name="T97" fmla="*/ 2147483646 h 280"/>
                    <a:gd name="T98" fmla="*/ 2147483646 w 281"/>
                    <a:gd name="T99" fmla="*/ 2147483646 h 280"/>
                    <a:gd name="T100" fmla="*/ 2147483646 w 281"/>
                    <a:gd name="T101" fmla="*/ 2147483646 h 280"/>
                    <a:gd name="T102" fmla="*/ 0 w 281"/>
                    <a:gd name="T103" fmla="*/ 2147483646 h 280"/>
                    <a:gd name="T104" fmla="*/ 0 w 281"/>
                    <a:gd name="T105" fmla="*/ 2147483646 h 280"/>
                    <a:gd name="T106" fmla="*/ 2147483646 w 281"/>
                    <a:gd name="T107" fmla="*/ 2147483646 h 280"/>
                    <a:gd name="T108" fmla="*/ 2147483646 w 281"/>
                    <a:gd name="T109" fmla="*/ 2147483646 h 280"/>
                    <a:gd name="T110" fmla="*/ 2147483646 w 281"/>
                    <a:gd name="T111" fmla="*/ 2147483646 h 280"/>
                    <a:gd name="T112" fmla="*/ 2147483646 w 281"/>
                    <a:gd name="T113" fmla="*/ 2147483646 h 280"/>
                    <a:gd name="T114" fmla="*/ 2147483646 w 281"/>
                    <a:gd name="T115" fmla="*/ 2147483646 h 280"/>
                    <a:gd name="T116" fmla="*/ 2147483646 w 281"/>
                    <a:gd name="T117" fmla="*/ 2147483646 h 280"/>
                    <a:gd name="T118" fmla="*/ 2147483646 w 281"/>
                    <a:gd name="T119" fmla="*/ 2147483646 h 280"/>
                    <a:gd name="T120" fmla="*/ 2147483646 w 281"/>
                    <a:gd name="T121" fmla="*/ 2147483646 h 280"/>
                    <a:gd name="T122" fmla="*/ 2147483646 w 281"/>
                    <a:gd name="T123" fmla="*/ 0 h 28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1"/>
                    <a:gd name="T187" fmla="*/ 0 h 280"/>
                    <a:gd name="T188" fmla="*/ 281 w 281"/>
                    <a:gd name="T189" fmla="*/ 280 h 28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1" h="280">
                      <a:moveTo>
                        <a:pt x="140" y="80"/>
                      </a:moveTo>
                      <a:lnTo>
                        <a:pt x="121" y="83"/>
                      </a:lnTo>
                      <a:lnTo>
                        <a:pt x="105" y="91"/>
                      </a:lnTo>
                      <a:lnTo>
                        <a:pt x="92" y="104"/>
                      </a:lnTo>
                      <a:lnTo>
                        <a:pt x="83" y="121"/>
                      </a:lnTo>
                      <a:lnTo>
                        <a:pt x="80" y="140"/>
                      </a:lnTo>
                      <a:lnTo>
                        <a:pt x="83" y="159"/>
                      </a:lnTo>
                      <a:lnTo>
                        <a:pt x="92" y="175"/>
                      </a:lnTo>
                      <a:lnTo>
                        <a:pt x="105" y="188"/>
                      </a:lnTo>
                      <a:lnTo>
                        <a:pt x="121" y="197"/>
                      </a:lnTo>
                      <a:lnTo>
                        <a:pt x="140" y="200"/>
                      </a:lnTo>
                      <a:lnTo>
                        <a:pt x="159" y="197"/>
                      </a:lnTo>
                      <a:lnTo>
                        <a:pt x="176" y="188"/>
                      </a:lnTo>
                      <a:lnTo>
                        <a:pt x="189" y="175"/>
                      </a:lnTo>
                      <a:lnTo>
                        <a:pt x="197" y="159"/>
                      </a:lnTo>
                      <a:lnTo>
                        <a:pt x="201" y="140"/>
                      </a:lnTo>
                      <a:lnTo>
                        <a:pt x="197" y="121"/>
                      </a:lnTo>
                      <a:lnTo>
                        <a:pt x="189" y="104"/>
                      </a:lnTo>
                      <a:lnTo>
                        <a:pt x="176" y="91"/>
                      </a:lnTo>
                      <a:lnTo>
                        <a:pt x="159" y="83"/>
                      </a:lnTo>
                      <a:lnTo>
                        <a:pt x="140" y="80"/>
                      </a:lnTo>
                      <a:close/>
                      <a:moveTo>
                        <a:pt x="121" y="0"/>
                      </a:moveTo>
                      <a:lnTo>
                        <a:pt x="160" y="0"/>
                      </a:lnTo>
                      <a:lnTo>
                        <a:pt x="160" y="42"/>
                      </a:lnTo>
                      <a:lnTo>
                        <a:pt x="180" y="48"/>
                      </a:lnTo>
                      <a:lnTo>
                        <a:pt x="197" y="57"/>
                      </a:lnTo>
                      <a:lnTo>
                        <a:pt x="227" y="27"/>
                      </a:lnTo>
                      <a:lnTo>
                        <a:pt x="254" y="56"/>
                      </a:lnTo>
                      <a:lnTo>
                        <a:pt x="224" y="86"/>
                      </a:lnTo>
                      <a:lnTo>
                        <a:pt x="233" y="102"/>
                      </a:lnTo>
                      <a:lnTo>
                        <a:pt x="239" y="120"/>
                      </a:lnTo>
                      <a:lnTo>
                        <a:pt x="281" y="120"/>
                      </a:lnTo>
                      <a:lnTo>
                        <a:pt x="281" y="159"/>
                      </a:lnTo>
                      <a:lnTo>
                        <a:pt x="239" y="159"/>
                      </a:lnTo>
                      <a:lnTo>
                        <a:pt x="233" y="179"/>
                      </a:lnTo>
                      <a:lnTo>
                        <a:pt x="224" y="195"/>
                      </a:lnTo>
                      <a:lnTo>
                        <a:pt x="254" y="226"/>
                      </a:lnTo>
                      <a:lnTo>
                        <a:pt x="227" y="254"/>
                      </a:lnTo>
                      <a:lnTo>
                        <a:pt x="195" y="224"/>
                      </a:lnTo>
                      <a:lnTo>
                        <a:pt x="178" y="233"/>
                      </a:lnTo>
                      <a:lnTo>
                        <a:pt x="160" y="238"/>
                      </a:lnTo>
                      <a:lnTo>
                        <a:pt x="160" y="280"/>
                      </a:lnTo>
                      <a:lnTo>
                        <a:pt x="121" y="280"/>
                      </a:lnTo>
                      <a:lnTo>
                        <a:pt x="121" y="238"/>
                      </a:lnTo>
                      <a:lnTo>
                        <a:pt x="102" y="233"/>
                      </a:lnTo>
                      <a:lnTo>
                        <a:pt x="87" y="225"/>
                      </a:lnTo>
                      <a:lnTo>
                        <a:pt x="57" y="254"/>
                      </a:lnTo>
                      <a:lnTo>
                        <a:pt x="28" y="226"/>
                      </a:lnTo>
                      <a:lnTo>
                        <a:pt x="58" y="196"/>
                      </a:lnTo>
                      <a:lnTo>
                        <a:pt x="49" y="179"/>
                      </a:lnTo>
                      <a:lnTo>
                        <a:pt x="42" y="159"/>
                      </a:lnTo>
                      <a:lnTo>
                        <a:pt x="0" y="159"/>
                      </a:lnTo>
                      <a:lnTo>
                        <a:pt x="0" y="120"/>
                      </a:lnTo>
                      <a:lnTo>
                        <a:pt x="42" y="120"/>
                      </a:lnTo>
                      <a:lnTo>
                        <a:pt x="47" y="102"/>
                      </a:lnTo>
                      <a:lnTo>
                        <a:pt x="57" y="85"/>
                      </a:lnTo>
                      <a:lnTo>
                        <a:pt x="28" y="56"/>
                      </a:lnTo>
                      <a:lnTo>
                        <a:pt x="57" y="27"/>
                      </a:lnTo>
                      <a:lnTo>
                        <a:pt x="85" y="56"/>
                      </a:lnTo>
                      <a:lnTo>
                        <a:pt x="102" y="48"/>
                      </a:lnTo>
                      <a:lnTo>
                        <a:pt x="121" y="42"/>
                      </a:lnTo>
                      <a:lnTo>
                        <a:pt x="121" y="0"/>
                      </a:lnTo>
                      <a:close/>
                    </a:path>
                  </a:pathLst>
                </a:custGeom>
                <a:solidFill>
                  <a:srgbClr val="44464A"/>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s-ES"/>
                </a:p>
              </p:txBody>
            </p:sp>
            <p:sp>
              <p:nvSpPr>
                <p:cNvPr id="49" name="Freeform 207">
                  <a:extLst>
                    <a:ext uri="{FF2B5EF4-FFF2-40B4-BE49-F238E27FC236}">
                      <a16:creationId xmlns:a16="http://schemas.microsoft.com/office/drawing/2014/main" id="{B676EDF5-72F3-49D3-B083-D8AF9CE8F5CB}"/>
                    </a:ext>
                  </a:extLst>
                </p:cNvPr>
                <p:cNvSpPr>
                  <a:spLocks noEditPoints="1"/>
                </p:cNvSpPr>
                <p:nvPr/>
              </p:nvSpPr>
              <p:spPr bwMode="auto">
                <a:xfrm>
                  <a:off x="1063598" y="840876"/>
                  <a:ext cx="496887" cy="496942"/>
                </a:xfrm>
                <a:custGeom>
                  <a:avLst/>
                  <a:gdLst>
                    <a:gd name="T0" fmla="*/ 156 w 357"/>
                    <a:gd name="T1" fmla="*/ 101 h 357"/>
                    <a:gd name="T2" fmla="*/ 120 w 357"/>
                    <a:gd name="T3" fmla="*/ 122 h 357"/>
                    <a:gd name="T4" fmla="*/ 101 w 357"/>
                    <a:gd name="T5" fmla="*/ 157 h 357"/>
                    <a:gd name="T6" fmla="*/ 101 w 357"/>
                    <a:gd name="T7" fmla="*/ 199 h 357"/>
                    <a:gd name="T8" fmla="*/ 120 w 357"/>
                    <a:gd name="T9" fmla="*/ 234 h 357"/>
                    <a:gd name="T10" fmla="*/ 156 w 357"/>
                    <a:gd name="T11" fmla="*/ 255 h 357"/>
                    <a:gd name="T12" fmla="*/ 199 w 357"/>
                    <a:gd name="T13" fmla="*/ 255 h 357"/>
                    <a:gd name="T14" fmla="*/ 234 w 357"/>
                    <a:gd name="T15" fmla="*/ 234 h 357"/>
                    <a:gd name="T16" fmla="*/ 255 w 357"/>
                    <a:gd name="T17" fmla="*/ 199 h 357"/>
                    <a:gd name="T18" fmla="*/ 255 w 357"/>
                    <a:gd name="T19" fmla="*/ 157 h 357"/>
                    <a:gd name="T20" fmla="*/ 234 w 357"/>
                    <a:gd name="T21" fmla="*/ 122 h 357"/>
                    <a:gd name="T22" fmla="*/ 199 w 357"/>
                    <a:gd name="T23" fmla="*/ 101 h 357"/>
                    <a:gd name="T24" fmla="*/ 139 w 357"/>
                    <a:gd name="T25" fmla="*/ 0 h 357"/>
                    <a:gd name="T26" fmla="*/ 216 w 357"/>
                    <a:gd name="T27" fmla="*/ 50 h 357"/>
                    <a:gd name="T28" fmla="*/ 272 w 357"/>
                    <a:gd name="T29" fmla="*/ 27 h 357"/>
                    <a:gd name="T30" fmla="*/ 281 w 357"/>
                    <a:gd name="T31" fmla="*/ 27 h 357"/>
                    <a:gd name="T32" fmla="*/ 331 w 357"/>
                    <a:gd name="T33" fmla="*/ 78 h 357"/>
                    <a:gd name="T34" fmla="*/ 296 w 357"/>
                    <a:gd name="T35" fmla="*/ 114 h 357"/>
                    <a:gd name="T36" fmla="*/ 357 w 357"/>
                    <a:gd name="T37" fmla="*/ 140 h 357"/>
                    <a:gd name="T38" fmla="*/ 352 w 357"/>
                    <a:gd name="T39" fmla="*/ 217 h 357"/>
                    <a:gd name="T40" fmla="*/ 306 w 357"/>
                    <a:gd name="T41" fmla="*/ 217 h 357"/>
                    <a:gd name="T42" fmla="*/ 327 w 357"/>
                    <a:gd name="T43" fmla="*/ 274 h 357"/>
                    <a:gd name="T44" fmla="*/ 327 w 357"/>
                    <a:gd name="T45" fmla="*/ 281 h 357"/>
                    <a:gd name="T46" fmla="*/ 276 w 357"/>
                    <a:gd name="T47" fmla="*/ 332 h 357"/>
                    <a:gd name="T48" fmla="*/ 241 w 357"/>
                    <a:gd name="T49" fmla="*/ 297 h 357"/>
                    <a:gd name="T50" fmla="*/ 218 w 357"/>
                    <a:gd name="T51" fmla="*/ 357 h 357"/>
                    <a:gd name="T52" fmla="*/ 141 w 357"/>
                    <a:gd name="T53" fmla="*/ 308 h 357"/>
                    <a:gd name="T54" fmla="*/ 83 w 357"/>
                    <a:gd name="T55" fmla="*/ 329 h 357"/>
                    <a:gd name="T56" fmla="*/ 76 w 357"/>
                    <a:gd name="T57" fmla="*/ 329 h 357"/>
                    <a:gd name="T58" fmla="*/ 26 w 357"/>
                    <a:gd name="T59" fmla="*/ 277 h 357"/>
                    <a:gd name="T60" fmla="*/ 48 w 357"/>
                    <a:gd name="T61" fmla="*/ 216 h 357"/>
                    <a:gd name="T62" fmla="*/ 0 w 357"/>
                    <a:gd name="T63" fmla="*/ 139 h 357"/>
                    <a:gd name="T64" fmla="*/ 60 w 357"/>
                    <a:gd name="T65" fmla="*/ 112 h 357"/>
                    <a:gd name="T66" fmla="*/ 26 w 357"/>
                    <a:gd name="T67" fmla="*/ 78 h 357"/>
                    <a:gd name="T68" fmla="*/ 76 w 357"/>
                    <a:gd name="T69" fmla="*/ 27 h 357"/>
                    <a:gd name="T70" fmla="*/ 83 w 357"/>
                    <a:gd name="T71" fmla="*/ 27 h 357"/>
                    <a:gd name="T72" fmla="*/ 139 w 357"/>
                    <a:gd name="T73" fmla="*/ 5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7" h="357">
                      <a:moveTo>
                        <a:pt x="178" y="98"/>
                      </a:moveTo>
                      <a:lnTo>
                        <a:pt x="156" y="101"/>
                      </a:lnTo>
                      <a:lnTo>
                        <a:pt x="137" y="109"/>
                      </a:lnTo>
                      <a:lnTo>
                        <a:pt x="120" y="122"/>
                      </a:lnTo>
                      <a:lnTo>
                        <a:pt x="108" y="137"/>
                      </a:lnTo>
                      <a:lnTo>
                        <a:pt x="101" y="157"/>
                      </a:lnTo>
                      <a:lnTo>
                        <a:pt x="97" y="178"/>
                      </a:lnTo>
                      <a:lnTo>
                        <a:pt x="101" y="199"/>
                      </a:lnTo>
                      <a:lnTo>
                        <a:pt x="108" y="219"/>
                      </a:lnTo>
                      <a:lnTo>
                        <a:pt x="120" y="234"/>
                      </a:lnTo>
                      <a:lnTo>
                        <a:pt x="137" y="247"/>
                      </a:lnTo>
                      <a:lnTo>
                        <a:pt x="156" y="255"/>
                      </a:lnTo>
                      <a:lnTo>
                        <a:pt x="178" y="258"/>
                      </a:lnTo>
                      <a:lnTo>
                        <a:pt x="199" y="255"/>
                      </a:lnTo>
                      <a:lnTo>
                        <a:pt x="218" y="247"/>
                      </a:lnTo>
                      <a:lnTo>
                        <a:pt x="234" y="234"/>
                      </a:lnTo>
                      <a:lnTo>
                        <a:pt x="247" y="219"/>
                      </a:lnTo>
                      <a:lnTo>
                        <a:pt x="255" y="199"/>
                      </a:lnTo>
                      <a:lnTo>
                        <a:pt x="258" y="178"/>
                      </a:lnTo>
                      <a:lnTo>
                        <a:pt x="255" y="157"/>
                      </a:lnTo>
                      <a:lnTo>
                        <a:pt x="247" y="137"/>
                      </a:lnTo>
                      <a:lnTo>
                        <a:pt x="234" y="122"/>
                      </a:lnTo>
                      <a:lnTo>
                        <a:pt x="218" y="109"/>
                      </a:lnTo>
                      <a:lnTo>
                        <a:pt x="199" y="101"/>
                      </a:lnTo>
                      <a:lnTo>
                        <a:pt x="178" y="98"/>
                      </a:lnTo>
                      <a:close/>
                      <a:moveTo>
                        <a:pt x="139" y="0"/>
                      </a:moveTo>
                      <a:lnTo>
                        <a:pt x="216" y="0"/>
                      </a:lnTo>
                      <a:lnTo>
                        <a:pt x="216" y="50"/>
                      </a:lnTo>
                      <a:lnTo>
                        <a:pt x="241" y="60"/>
                      </a:lnTo>
                      <a:lnTo>
                        <a:pt x="272" y="27"/>
                      </a:lnTo>
                      <a:lnTo>
                        <a:pt x="276" y="23"/>
                      </a:lnTo>
                      <a:lnTo>
                        <a:pt x="281" y="27"/>
                      </a:lnTo>
                      <a:lnTo>
                        <a:pt x="327" y="74"/>
                      </a:lnTo>
                      <a:lnTo>
                        <a:pt x="331" y="78"/>
                      </a:lnTo>
                      <a:lnTo>
                        <a:pt x="327" y="82"/>
                      </a:lnTo>
                      <a:lnTo>
                        <a:pt x="296" y="114"/>
                      </a:lnTo>
                      <a:lnTo>
                        <a:pt x="306" y="140"/>
                      </a:lnTo>
                      <a:lnTo>
                        <a:pt x="357" y="140"/>
                      </a:lnTo>
                      <a:lnTo>
                        <a:pt x="357" y="217"/>
                      </a:lnTo>
                      <a:lnTo>
                        <a:pt x="352" y="217"/>
                      </a:lnTo>
                      <a:lnTo>
                        <a:pt x="352" y="217"/>
                      </a:lnTo>
                      <a:lnTo>
                        <a:pt x="306" y="217"/>
                      </a:lnTo>
                      <a:lnTo>
                        <a:pt x="296" y="242"/>
                      </a:lnTo>
                      <a:lnTo>
                        <a:pt x="327" y="274"/>
                      </a:lnTo>
                      <a:lnTo>
                        <a:pt x="331" y="277"/>
                      </a:lnTo>
                      <a:lnTo>
                        <a:pt x="327" y="281"/>
                      </a:lnTo>
                      <a:lnTo>
                        <a:pt x="281" y="329"/>
                      </a:lnTo>
                      <a:lnTo>
                        <a:pt x="276" y="332"/>
                      </a:lnTo>
                      <a:lnTo>
                        <a:pt x="272" y="329"/>
                      </a:lnTo>
                      <a:lnTo>
                        <a:pt x="241" y="297"/>
                      </a:lnTo>
                      <a:lnTo>
                        <a:pt x="218" y="306"/>
                      </a:lnTo>
                      <a:lnTo>
                        <a:pt x="218" y="357"/>
                      </a:lnTo>
                      <a:lnTo>
                        <a:pt x="141" y="357"/>
                      </a:lnTo>
                      <a:lnTo>
                        <a:pt x="141" y="308"/>
                      </a:lnTo>
                      <a:lnTo>
                        <a:pt x="115" y="297"/>
                      </a:lnTo>
                      <a:lnTo>
                        <a:pt x="83" y="329"/>
                      </a:lnTo>
                      <a:lnTo>
                        <a:pt x="80" y="332"/>
                      </a:lnTo>
                      <a:lnTo>
                        <a:pt x="76" y="329"/>
                      </a:lnTo>
                      <a:lnTo>
                        <a:pt x="30" y="281"/>
                      </a:lnTo>
                      <a:lnTo>
                        <a:pt x="26" y="277"/>
                      </a:lnTo>
                      <a:lnTo>
                        <a:pt x="60" y="243"/>
                      </a:lnTo>
                      <a:lnTo>
                        <a:pt x="48" y="216"/>
                      </a:lnTo>
                      <a:lnTo>
                        <a:pt x="0" y="216"/>
                      </a:lnTo>
                      <a:lnTo>
                        <a:pt x="0" y="139"/>
                      </a:lnTo>
                      <a:lnTo>
                        <a:pt x="49" y="139"/>
                      </a:lnTo>
                      <a:lnTo>
                        <a:pt x="60" y="112"/>
                      </a:lnTo>
                      <a:lnTo>
                        <a:pt x="30" y="82"/>
                      </a:lnTo>
                      <a:lnTo>
                        <a:pt x="26" y="78"/>
                      </a:lnTo>
                      <a:lnTo>
                        <a:pt x="30" y="74"/>
                      </a:lnTo>
                      <a:lnTo>
                        <a:pt x="76" y="27"/>
                      </a:lnTo>
                      <a:lnTo>
                        <a:pt x="80" y="23"/>
                      </a:lnTo>
                      <a:lnTo>
                        <a:pt x="83" y="27"/>
                      </a:lnTo>
                      <a:lnTo>
                        <a:pt x="115" y="59"/>
                      </a:lnTo>
                      <a:lnTo>
                        <a:pt x="139" y="50"/>
                      </a:lnTo>
                      <a:lnTo>
                        <a:pt x="139" y="0"/>
                      </a:lnTo>
                      <a:close/>
                    </a:path>
                  </a:pathLst>
                </a:custGeom>
                <a:solidFill>
                  <a:srgbClr val="44464A"/>
                </a:solidFill>
                <a:ln w="0">
                  <a:noFill/>
                  <a:prstDash val="solid"/>
                  <a:round/>
                  <a:headEnd/>
                  <a:tailEnd/>
                </a:ln>
              </p:spPr>
              <p:txBody>
                <a:bodyPr/>
                <a:lstStyle/>
                <a:p>
                  <a:pPr eaLnBrk="1" fontAlgn="auto" hangingPunct="1">
                    <a:spcBef>
                      <a:spcPts val="0"/>
                    </a:spcBef>
                    <a:spcAft>
                      <a:spcPts val="0"/>
                    </a:spcAft>
                    <a:defRPr/>
                  </a:pPr>
                  <a:endParaRPr lang="en-US" dirty="0">
                    <a:latin typeface="+mn-lt"/>
                    <a:cs typeface="+mn-cs"/>
                  </a:endParaRPr>
                </a:p>
              </p:txBody>
            </p:sp>
            <p:sp>
              <p:nvSpPr>
                <p:cNvPr id="50" name="Freeform 208">
                  <a:extLst>
                    <a:ext uri="{FF2B5EF4-FFF2-40B4-BE49-F238E27FC236}">
                      <a16:creationId xmlns:a16="http://schemas.microsoft.com/office/drawing/2014/main" id="{6C101FAD-8AD4-41D6-9101-B7819482E763}"/>
                    </a:ext>
                  </a:extLst>
                </p:cNvPr>
                <p:cNvSpPr>
                  <a:spLocks noEditPoints="1"/>
                </p:cNvSpPr>
                <p:nvPr/>
              </p:nvSpPr>
              <p:spPr bwMode="auto">
                <a:xfrm>
                  <a:off x="2335185" y="1828409"/>
                  <a:ext cx="290513" cy="288956"/>
                </a:xfrm>
                <a:custGeom>
                  <a:avLst/>
                  <a:gdLst>
                    <a:gd name="T0" fmla="*/ 2147483646 w 209"/>
                    <a:gd name="T1" fmla="*/ 2147483646 h 208"/>
                    <a:gd name="T2" fmla="*/ 2147483646 w 209"/>
                    <a:gd name="T3" fmla="*/ 2147483646 h 208"/>
                    <a:gd name="T4" fmla="*/ 2147483646 w 209"/>
                    <a:gd name="T5" fmla="*/ 2147483646 h 208"/>
                    <a:gd name="T6" fmla="*/ 2147483646 w 209"/>
                    <a:gd name="T7" fmla="*/ 2147483646 h 208"/>
                    <a:gd name="T8" fmla="*/ 2147483646 w 209"/>
                    <a:gd name="T9" fmla="*/ 2147483646 h 208"/>
                    <a:gd name="T10" fmla="*/ 2147483646 w 209"/>
                    <a:gd name="T11" fmla="*/ 2147483646 h 208"/>
                    <a:gd name="T12" fmla="*/ 2147483646 w 209"/>
                    <a:gd name="T13" fmla="*/ 2147483646 h 208"/>
                    <a:gd name="T14" fmla="*/ 2147483646 w 209"/>
                    <a:gd name="T15" fmla="*/ 2147483646 h 208"/>
                    <a:gd name="T16" fmla="*/ 2147483646 w 209"/>
                    <a:gd name="T17" fmla="*/ 0 h 208"/>
                    <a:gd name="T18" fmla="*/ 2147483646 w 209"/>
                    <a:gd name="T19" fmla="*/ 2147483646 h 208"/>
                    <a:gd name="T20" fmla="*/ 2147483646 w 209"/>
                    <a:gd name="T21" fmla="*/ 2147483646 h 208"/>
                    <a:gd name="T22" fmla="*/ 2147483646 w 209"/>
                    <a:gd name="T23" fmla="*/ 2147483646 h 208"/>
                    <a:gd name="T24" fmla="*/ 2147483646 w 209"/>
                    <a:gd name="T25" fmla="*/ 2147483646 h 208"/>
                    <a:gd name="T26" fmla="*/ 2147483646 w 209"/>
                    <a:gd name="T27" fmla="*/ 2147483646 h 208"/>
                    <a:gd name="T28" fmla="*/ 2147483646 w 209"/>
                    <a:gd name="T29" fmla="*/ 2147483646 h 208"/>
                    <a:gd name="T30" fmla="*/ 2147483646 w 209"/>
                    <a:gd name="T31" fmla="*/ 2147483646 h 208"/>
                    <a:gd name="T32" fmla="*/ 2147483646 w 209"/>
                    <a:gd name="T33" fmla="*/ 2147483646 h 208"/>
                    <a:gd name="T34" fmla="*/ 2147483646 w 209"/>
                    <a:gd name="T35" fmla="*/ 2147483646 h 208"/>
                    <a:gd name="T36" fmla="*/ 2147483646 w 209"/>
                    <a:gd name="T37" fmla="*/ 2147483646 h 208"/>
                    <a:gd name="T38" fmla="*/ 2147483646 w 209"/>
                    <a:gd name="T39" fmla="*/ 2147483646 h 208"/>
                    <a:gd name="T40" fmla="*/ 2147483646 w 209"/>
                    <a:gd name="T41" fmla="*/ 2147483646 h 208"/>
                    <a:gd name="T42" fmla="*/ 2147483646 w 209"/>
                    <a:gd name="T43" fmla="*/ 2147483646 h 208"/>
                    <a:gd name="T44" fmla="*/ 2147483646 w 209"/>
                    <a:gd name="T45" fmla="*/ 2147483646 h 208"/>
                    <a:gd name="T46" fmla="*/ 2147483646 w 209"/>
                    <a:gd name="T47" fmla="*/ 2147483646 h 208"/>
                    <a:gd name="T48" fmla="*/ 2147483646 w 209"/>
                    <a:gd name="T49" fmla="*/ 2147483646 h 208"/>
                    <a:gd name="T50" fmla="*/ 2147483646 w 209"/>
                    <a:gd name="T51" fmla="*/ 2147483646 h 208"/>
                    <a:gd name="T52" fmla="*/ 2147483646 w 209"/>
                    <a:gd name="T53" fmla="*/ 2147483646 h 208"/>
                    <a:gd name="T54" fmla="*/ 2147483646 w 209"/>
                    <a:gd name="T55" fmla="*/ 2147483646 h 208"/>
                    <a:gd name="T56" fmla="*/ 2147483646 w 209"/>
                    <a:gd name="T57" fmla="*/ 2147483646 h 208"/>
                    <a:gd name="T58" fmla="*/ 0 w 209"/>
                    <a:gd name="T59" fmla="*/ 2147483646 h 208"/>
                    <a:gd name="T60" fmla="*/ 2147483646 w 209"/>
                    <a:gd name="T61" fmla="*/ 2147483646 h 208"/>
                    <a:gd name="T62" fmla="*/ 2147483646 w 209"/>
                    <a:gd name="T63" fmla="*/ 2147483646 h 208"/>
                    <a:gd name="T64" fmla="*/ 2147483646 w 209"/>
                    <a:gd name="T65" fmla="*/ 2147483646 h 208"/>
                    <a:gd name="T66" fmla="*/ 2147483646 w 209"/>
                    <a:gd name="T67" fmla="*/ 2147483646 h 208"/>
                    <a:gd name="T68" fmla="*/ 2147483646 w 209"/>
                    <a:gd name="T69" fmla="*/ 2147483646 h 208"/>
                    <a:gd name="T70" fmla="*/ 2147483646 w 209"/>
                    <a:gd name="T71" fmla="*/ 2147483646 h 208"/>
                    <a:gd name="T72" fmla="*/ 2147483646 w 209"/>
                    <a:gd name="T73" fmla="*/ 0 h 20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09"/>
                    <a:gd name="T112" fmla="*/ 0 h 208"/>
                    <a:gd name="T113" fmla="*/ 209 w 209"/>
                    <a:gd name="T114" fmla="*/ 208 h 20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09" h="208">
                      <a:moveTo>
                        <a:pt x="104" y="56"/>
                      </a:moveTo>
                      <a:lnTo>
                        <a:pt x="85" y="60"/>
                      </a:lnTo>
                      <a:lnTo>
                        <a:pt x="71" y="70"/>
                      </a:lnTo>
                      <a:lnTo>
                        <a:pt x="61" y="85"/>
                      </a:lnTo>
                      <a:lnTo>
                        <a:pt x="57" y="103"/>
                      </a:lnTo>
                      <a:lnTo>
                        <a:pt x="61" y="121"/>
                      </a:lnTo>
                      <a:lnTo>
                        <a:pt x="71" y="137"/>
                      </a:lnTo>
                      <a:lnTo>
                        <a:pt x="85" y="146"/>
                      </a:lnTo>
                      <a:lnTo>
                        <a:pt x="104" y="150"/>
                      </a:lnTo>
                      <a:lnTo>
                        <a:pt x="122" y="146"/>
                      </a:lnTo>
                      <a:lnTo>
                        <a:pt x="136" y="137"/>
                      </a:lnTo>
                      <a:lnTo>
                        <a:pt x="147" y="121"/>
                      </a:lnTo>
                      <a:lnTo>
                        <a:pt x="151" y="103"/>
                      </a:lnTo>
                      <a:lnTo>
                        <a:pt x="147" y="85"/>
                      </a:lnTo>
                      <a:lnTo>
                        <a:pt x="136" y="70"/>
                      </a:lnTo>
                      <a:lnTo>
                        <a:pt x="122" y="60"/>
                      </a:lnTo>
                      <a:lnTo>
                        <a:pt x="104" y="56"/>
                      </a:lnTo>
                      <a:close/>
                      <a:moveTo>
                        <a:pt x="81" y="0"/>
                      </a:moveTo>
                      <a:lnTo>
                        <a:pt x="126" y="0"/>
                      </a:lnTo>
                      <a:lnTo>
                        <a:pt x="126" y="28"/>
                      </a:lnTo>
                      <a:lnTo>
                        <a:pt x="134" y="31"/>
                      </a:lnTo>
                      <a:lnTo>
                        <a:pt x="140" y="34"/>
                      </a:lnTo>
                      <a:lnTo>
                        <a:pt x="159" y="15"/>
                      </a:lnTo>
                      <a:lnTo>
                        <a:pt x="161" y="13"/>
                      </a:lnTo>
                      <a:lnTo>
                        <a:pt x="164" y="15"/>
                      </a:lnTo>
                      <a:lnTo>
                        <a:pt x="192" y="43"/>
                      </a:lnTo>
                      <a:lnTo>
                        <a:pt x="194" y="45"/>
                      </a:lnTo>
                      <a:lnTo>
                        <a:pt x="192" y="48"/>
                      </a:lnTo>
                      <a:lnTo>
                        <a:pt x="173" y="66"/>
                      </a:lnTo>
                      <a:lnTo>
                        <a:pt x="176" y="73"/>
                      </a:lnTo>
                      <a:lnTo>
                        <a:pt x="178" y="81"/>
                      </a:lnTo>
                      <a:lnTo>
                        <a:pt x="209" y="81"/>
                      </a:lnTo>
                      <a:lnTo>
                        <a:pt x="209" y="127"/>
                      </a:lnTo>
                      <a:lnTo>
                        <a:pt x="205" y="127"/>
                      </a:lnTo>
                      <a:lnTo>
                        <a:pt x="178" y="127"/>
                      </a:lnTo>
                      <a:lnTo>
                        <a:pt x="176" y="133"/>
                      </a:lnTo>
                      <a:lnTo>
                        <a:pt x="173" y="141"/>
                      </a:lnTo>
                      <a:lnTo>
                        <a:pt x="192" y="159"/>
                      </a:lnTo>
                      <a:lnTo>
                        <a:pt x="194" y="162"/>
                      </a:lnTo>
                      <a:lnTo>
                        <a:pt x="192" y="163"/>
                      </a:lnTo>
                      <a:lnTo>
                        <a:pt x="164" y="191"/>
                      </a:lnTo>
                      <a:lnTo>
                        <a:pt x="161" y="193"/>
                      </a:lnTo>
                      <a:lnTo>
                        <a:pt x="140" y="172"/>
                      </a:lnTo>
                      <a:lnTo>
                        <a:pt x="134" y="175"/>
                      </a:lnTo>
                      <a:lnTo>
                        <a:pt x="127" y="178"/>
                      </a:lnTo>
                      <a:lnTo>
                        <a:pt x="127" y="208"/>
                      </a:lnTo>
                      <a:lnTo>
                        <a:pt x="81" y="208"/>
                      </a:lnTo>
                      <a:lnTo>
                        <a:pt x="81" y="179"/>
                      </a:lnTo>
                      <a:lnTo>
                        <a:pt x="75" y="176"/>
                      </a:lnTo>
                      <a:lnTo>
                        <a:pt x="67" y="172"/>
                      </a:lnTo>
                      <a:lnTo>
                        <a:pt x="49" y="191"/>
                      </a:lnTo>
                      <a:lnTo>
                        <a:pt x="46" y="193"/>
                      </a:lnTo>
                      <a:lnTo>
                        <a:pt x="17" y="163"/>
                      </a:lnTo>
                      <a:lnTo>
                        <a:pt x="15" y="162"/>
                      </a:lnTo>
                      <a:lnTo>
                        <a:pt x="17" y="159"/>
                      </a:lnTo>
                      <a:lnTo>
                        <a:pt x="34" y="141"/>
                      </a:lnTo>
                      <a:lnTo>
                        <a:pt x="32" y="133"/>
                      </a:lnTo>
                      <a:lnTo>
                        <a:pt x="28" y="125"/>
                      </a:lnTo>
                      <a:lnTo>
                        <a:pt x="0" y="125"/>
                      </a:lnTo>
                      <a:lnTo>
                        <a:pt x="0" y="81"/>
                      </a:lnTo>
                      <a:lnTo>
                        <a:pt x="29" y="81"/>
                      </a:lnTo>
                      <a:lnTo>
                        <a:pt x="32" y="73"/>
                      </a:lnTo>
                      <a:lnTo>
                        <a:pt x="34" y="65"/>
                      </a:lnTo>
                      <a:lnTo>
                        <a:pt x="17" y="48"/>
                      </a:lnTo>
                      <a:lnTo>
                        <a:pt x="15" y="45"/>
                      </a:lnTo>
                      <a:lnTo>
                        <a:pt x="17" y="43"/>
                      </a:lnTo>
                      <a:lnTo>
                        <a:pt x="45" y="15"/>
                      </a:lnTo>
                      <a:lnTo>
                        <a:pt x="46" y="13"/>
                      </a:lnTo>
                      <a:lnTo>
                        <a:pt x="49" y="15"/>
                      </a:lnTo>
                      <a:lnTo>
                        <a:pt x="67" y="34"/>
                      </a:lnTo>
                      <a:lnTo>
                        <a:pt x="74" y="31"/>
                      </a:lnTo>
                      <a:lnTo>
                        <a:pt x="81" y="28"/>
                      </a:lnTo>
                      <a:lnTo>
                        <a:pt x="81" y="0"/>
                      </a:lnTo>
                      <a:close/>
                    </a:path>
                  </a:pathLst>
                </a:custGeom>
                <a:solidFill>
                  <a:srgbClr val="91969A"/>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s-ES"/>
                </a:p>
              </p:txBody>
            </p:sp>
            <p:sp>
              <p:nvSpPr>
                <p:cNvPr id="51" name="Freeform 209">
                  <a:extLst>
                    <a:ext uri="{FF2B5EF4-FFF2-40B4-BE49-F238E27FC236}">
                      <a16:creationId xmlns:a16="http://schemas.microsoft.com/office/drawing/2014/main" id="{72942128-2BA4-4382-A969-081F5D059876}"/>
                    </a:ext>
                  </a:extLst>
                </p:cNvPr>
                <p:cNvSpPr>
                  <a:spLocks noEditPoints="1"/>
                </p:cNvSpPr>
                <p:nvPr/>
              </p:nvSpPr>
              <p:spPr bwMode="auto">
                <a:xfrm>
                  <a:off x="2581248" y="718626"/>
                  <a:ext cx="266700" cy="269904"/>
                </a:xfrm>
                <a:custGeom>
                  <a:avLst/>
                  <a:gdLst>
                    <a:gd name="T0" fmla="*/ 85 w 208"/>
                    <a:gd name="T1" fmla="*/ 61 h 209"/>
                    <a:gd name="T2" fmla="*/ 60 w 208"/>
                    <a:gd name="T3" fmla="*/ 85 h 209"/>
                    <a:gd name="T4" fmla="*/ 60 w 208"/>
                    <a:gd name="T5" fmla="*/ 122 h 209"/>
                    <a:gd name="T6" fmla="*/ 85 w 208"/>
                    <a:gd name="T7" fmla="*/ 147 h 209"/>
                    <a:gd name="T8" fmla="*/ 121 w 208"/>
                    <a:gd name="T9" fmla="*/ 147 h 209"/>
                    <a:gd name="T10" fmla="*/ 146 w 208"/>
                    <a:gd name="T11" fmla="*/ 122 h 209"/>
                    <a:gd name="T12" fmla="*/ 146 w 208"/>
                    <a:gd name="T13" fmla="*/ 85 h 209"/>
                    <a:gd name="T14" fmla="*/ 121 w 208"/>
                    <a:gd name="T15" fmla="*/ 61 h 209"/>
                    <a:gd name="T16" fmla="*/ 81 w 208"/>
                    <a:gd name="T17" fmla="*/ 0 h 209"/>
                    <a:gd name="T18" fmla="*/ 125 w 208"/>
                    <a:gd name="T19" fmla="*/ 29 h 209"/>
                    <a:gd name="T20" fmla="*/ 140 w 208"/>
                    <a:gd name="T21" fmla="*/ 34 h 209"/>
                    <a:gd name="T22" fmla="*/ 161 w 208"/>
                    <a:gd name="T23" fmla="*/ 13 h 209"/>
                    <a:gd name="T24" fmla="*/ 191 w 208"/>
                    <a:gd name="T25" fmla="*/ 44 h 209"/>
                    <a:gd name="T26" fmla="*/ 191 w 208"/>
                    <a:gd name="T27" fmla="*/ 49 h 209"/>
                    <a:gd name="T28" fmla="*/ 175 w 208"/>
                    <a:gd name="T29" fmla="*/ 75 h 209"/>
                    <a:gd name="T30" fmla="*/ 208 w 208"/>
                    <a:gd name="T31" fmla="*/ 82 h 209"/>
                    <a:gd name="T32" fmla="*/ 178 w 208"/>
                    <a:gd name="T33" fmla="*/ 127 h 209"/>
                    <a:gd name="T34" fmla="*/ 172 w 208"/>
                    <a:gd name="T35" fmla="*/ 142 h 209"/>
                    <a:gd name="T36" fmla="*/ 192 w 208"/>
                    <a:gd name="T37" fmla="*/ 163 h 209"/>
                    <a:gd name="T38" fmla="*/ 161 w 208"/>
                    <a:gd name="T39" fmla="*/ 194 h 209"/>
                    <a:gd name="T40" fmla="*/ 140 w 208"/>
                    <a:gd name="T41" fmla="*/ 173 h 209"/>
                    <a:gd name="T42" fmla="*/ 127 w 208"/>
                    <a:gd name="T43" fmla="*/ 178 h 209"/>
                    <a:gd name="T44" fmla="*/ 81 w 208"/>
                    <a:gd name="T45" fmla="*/ 209 h 209"/>
                    <a:gd name="T46" fmla="*/ 74 w 208"/>
                    <a:gd name="T47" fmla="*/ 177 h 209"/>
                    <a:gd name="T48" fmla="*/ 48 w 208"/>
                    <a:gd name="T49" fmla="*/ 192 h 209"/>
                    <a:gd name="T50" fmla="*/ 44 w 208"/>
                    <a:gd name="T51" fmla="*/ 192 h 209"/>
                    <a:gd name="T52" fmla="*/ 14 w 208"/>
                    <a:gd name="T53" fmla="*/ 163 h 209"/>
                    <a:gd name="T54" fmla="*/ 34 w 208"/>
                    <a:gd name="T55" fmla="*/ 142 h 209"/>
                    <a:gd name="T56" fmla="*/ 27 w 208"/>
                    <a:gd name="T57" fmla="*/ 126 h 209"/>
                    <a:gd name="T58" fmla="*/ 0 w 208"/>
                    <a:gd name="T59" fmla="*/ 82 h 209"/>
                    <a:gd name="T60" fmla="*/ 31 w 208"/>
                    <a:gd name="T61" fmla="*/ 74 h 209"/>
                    <a:gd name="T62" fmla="*/ 14 w 208"/>
                    <a:gd name="T63" fmla="*/ 46 h 209"/>
                    <a:gd name="T64" fmla="*/ 44 w 208"/>
                    <a:gd name="T65" fmla="*/ 16 h 209"/>
                    <a:gd name="T66" fmla="*/ 48 w 208"/>
                    <a:gd name="T67" fmla="*/ 16 h 209"/>
                    <a:gd name="T68" fmla="*/ 73 w 208"/>
                    <a:gd name="T69" fmla="*/ 32 h 209"/>
                    <a:gd name="T70" fmla="*/ 81 w 208"/>
                    <a:gd name="T71"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8" h="209">
                      <a:moveTo>
                        <a:pt x="103" y="57"/>
                      </a:moveTo>
                      <a:lnTo>
                        <a:pt x="85" y="61"/>
                      </a:lnTo>
                      <a:lnTo>
                        <a:pt x="70" y="71"/>
                      </a:lnTo>
                      <a:lnTo>
                        <a:pt x="60" y="85"/>
                      </a:lnTo>
                      <a:lnTo>
                        <a:pt x="56" y="104"/>
                      </a:lnTo>
                      <a:lnTo>
                        <a:pt x="60" y="122"/>
                      </a:lnTo>
                      <a:lnTo>
                        <a:pt x="70" y="138"/>
                      </a:lnTo>
                      <a:lnTo>
                        <a:pt x="85" y="147"/>
                      </a:lnTo>
                      <a:lnTo>
                        <a:pt x="103" y="151"/>
                      </a:lnTo>
                      <a:lnTo>
                        <a:pt x="121" y="147"/>
                      </a:lnTo>
                      <a:lnTo>
                        <a:pt x="136" y="138"/>
                      </a:lnTo>
                      <a:lnTo>
                        <a:pt x="146" y="122"/>
                      </a:lnTo>
                      <a:lnTo>
                        <a:pt x="150" y="104"/>
                      </a:lnTo>
                      <a:lnTo>
                        <a:pt x="146" y="85"/>
                      </a:lnTo>
                      <a:lnTo>
                        <a:pt x="136" y="71"/>
                      </a:lnTo>
                      <a:lnTo>
                        <a:pt x="121" y="61"/>
                      </a:lnTo>
                      <a:lnTo>
                        <a:pt x="103" y="57"/>
                      </a:lnTo>
                      <a:close/>
                      <a:moveTo>
                        <a:pt x="81" y="0"/>
                      </a:moveTo>
                      <a:lnTo>
                        <a:pt x="125" y="0"/>
                      </a:lnTo>
                      <a:lnTo>
                        <a:pt x="125" y="29"/>
                      </a:lnTo>
                      <a:lnTo>
                        <a:pt x="133" y="32"/>
                      </a:lnTo>
                      <a:lnTo>
                        <a:pt x="140" y="34"/>
                      </a:lnTo>
                      <a:lnTo>
                        <a:pt x="158" y="16"/>
                      </a:lnTo>
                      <a:lnTo>
                        <a:pt x="161" y="13"/>
                      </a:lnTo>
                      <a:lnTo>
                        <a:pt x="163" y="16"/>
                      </a:lnTo>
                      <a:lnTo>
                        <a:pt x="191" y="44"/>
                      </a:lnTo>
                      <a:lnTo>
                        <a:pt x="192" y="46"/>
                      </a:lnTo>
                      <a:lnTo>
                        <a:pt x="191" y="49"/>
                      </a:lnTo>
                      <a:lnTo>
                        <a:pt x="172" y="67"/>
                      </a:lnTo>
                      <a:lnTo>
                        <a:pt x="175" y="75"/>
                      </a:lnTo>
                      <a:lnTo>
                        <a:pt x="178" y="82"/>
                      </a:lnTo>
                      <a:lnTo>
                        <a:pt x="208" y="82"/>
                      </a:lnTo>
                      <a:lnTo>
                        <a:pt x="208" y="127"/>
                      </a:lnTo>
                      <a:lnTo>
                        <a:pt x="178" y="127"/>
                      </a:lnTo>
                      <a:lnTo>
                        <a:pt x="175" y="134"/>
                      </a:lnTo>
                      <a:lnTo>
                        <a:pt x="172" y="142"/>
                      </a:lnTo>
                      <a:lnTo>
                        <a:pt x="191" y="160"/>
                      </a:lnTo>
                      <a:lnTo>
                        <a:pt x="192" y="163"/>
                      </a:lnTo>
                      <a:lnTo>
                        <a:pt x="163" y="192"/>
                      </a:lnTo>
                      <a:lnTo>
                        <a:pt x="161" y="194"/>
                      </a:lnTo>
                      <a:lnTo>
                        <a:pt x="158" y="192"/>
                      </a:lnTo>
                      <a:lnTo>
                        <a:pt x="140" y="173"/>
                      </a:lnTo>
                      <a:lnTo>
                        <a:pt x="133" y="177"/>
                      </a:lnTo>
                      <a:lnTo>
                        <a:pt x="127" y="178"/>
                      </a:lnTo>
                      <a:lnTo>
                        <a:pt x="127" y="209"/>
                      </a:lnTo>
                      <a:lnTo>
                        <a:pt x="81" y="209"/>
                      </a:lnTo>
                      <a:lnTo>
                        <a:pt x="81" y="180"/>
                      </a:lnTo>
                      <a:lnTo>
                        <a:pt x="74" y="177"/>
                      </a:lnTo>
                      <a:lnTo>
                        <a:pt x="66" y="173"/>
                      </a:lnTo>
                      <a:lnTo>
                        <a:pt x="48" y="192"/>
                      </a:lnTo>
                      <a:lnTo>
                        <a:pt x="45" y="194"/>
                      </a:lnTo>
                      <a:lnTo>
                        <a:pt x="44" y="192"/>
                      </a:lnTo>
                      <a:lnTo>
                        <a:pt x="17" y="165"/>
                      </a:lnTo>
                      <a:lnTo>
                        <a:pt x="14" y="163"/>
                      </a:lnTo>
                      <a:lnTo>
                        <a:pt x="17" y="160"/>
                      </a:lnTo>
                      <a:lnTo>
                        <a:pt x="34" y="142"/>
                      </a:lnTo>
                      <a:lnTo>
                        <a:pt x="30" y="134"/>
                      </a:lnTo>
                      <a:lnTo>
                        <a:pt x="27" y="126"/>
                      </a:lnTo>
                      <a:lnTo>
                        <a:pt x="0" y="126"/>
                      </a:lnTo>
                      <a:lnTo>
                        <a:pt x="0" y="82"/>
                      </a:lnTo>
                      <a:lnTo>
                        <a:pt x="28" y="82"/>
                      </a:lnTo>
                      <a:lnTo>
                        <a:pt x="31" y="74"/>
                      </a:lnTo>
                      <a:lnTo>
                        <a:pt x="34" y="66"/>
                      </a:lnTo>
                      <a:lnTo>
                        <a:pt x="14" y="46"/>
                      </a:lnTo>
                      <a:lnTo>
                        <a:pt x="17" y="44"/>
                      </a:lnTo>
                      <a:lnTo>
                        <a:pt x="44" y="16"/>
                      </a:lnTo>
                      <a:lnTo>
                        <a:pt x="45" y="13"/>
                      </a:lnTo>
                      <a:lnTo>
                        <a:pt x="48" y="16"/>
                      </a:lnTo>
                      <a:lnTo>
                        <a:pt x="66" y="34"/>
                      </a:lnTo>
                      <a:lnTo>
                        <a:pt x="73" y="32"/>
                      </a:lnTo>
                      <a:lnTo>
                        <a:pt x="81" y="29"/>
                      </a:lnTo>
                      <a:lnTo>
                        <a:pt x="81" y="0"/>
                      </a:lnTo>
                      <a:close/>
                    </a:path>
                  </a:pathLst>
                </a:custGeom>
                <a:solidFill>
                  <a:schemeClr val="accent6">
                    <a:lumMod val="75000"/>
                  </a:schemeClr>
                </a:solidFill>
                <a:ln w="0">
                  <a:noFill/>
                  <a:prstDash val="solid"/>
                  <a:round/>
                  <a:headEnd/>
                  <a:tailEnd/>
                </a:ln>
              </p:spPr>
              <p:txBody>
                <a:bodyPr/>
                <a:lstStyle/>
                <a:p>
                  <a:pPr eaLnBrk="1" fontAlgn="auto" hangingPunct="1">
                    <a:spcBef>
                      <a:spcPts val="0"/>
                    </a:spcBef>
                    <a:spcAft>
                      <a:spcPts val="0"/>
                    </a:spcAft>
                    <a:defRPr/>
                  </a:pPr>
                  <a:endParaRPr lang="en-US" dirty="0">
                    <a:latin typeface="+mn-lt"/>
                    <a:cs typeface="+mn-cs"/>
                  </a:endParaRPr>
                </a:p>
              </p:txBody>
            </p:sp>
            <p:sp>
              <p:nvSpPr>
                <p:cNvPr id="52" name="Freeform 210">
                  <a:extLst>
                    <a:ext uri="{FF2B5EF4-FFF2-40B4-BE49-F238E27FC236}">
                      <a16:creationId xmlns:a16="http://schemas.microsoft.com/office/drawing/2014/main" id="{0CC2AA48-64E6-4936-A67E-E2C499AD4BCB}"/>
                    </a:ext>
                  </a:extLst>
                </p:cNvPr>
                <p:cNvSpPr>
                  <a:spLocks noEditPoints="1"/>
                </p:cNvSpPr>
                <p:nvPr/>
              </p:nvSpPr>
              <p:spPr bwMode="auto">
                <a:xfrm>
                  <a:off x="2524098" y="1623599"/>
                  <a:ext cx="215900" cy="215923"/>
                </a:xfrm>
                <a:custGeom>
                  <a:avLst/>
                  <a:gdLst>
                    <a:gd name="T0" fmla="*/ 63 w 155"/>
                    <a:gd name="T1" fmla="*/ 46 h 156"/>
                    <a:gd name="T2" fmla="*/ 45 w 155"/>
                    <a:gd name="T3" fmla="*/ 64 h 156"/>
                    <a:gd name="T4" fmla="*/ 45 w 155"/>
                    <a:gd name="T5" fmla="*/ 92 h 156"/>
                    <a:gd name="T6" fmla="*/ 63 w 155"/>
                    <a:gd name="T7" fmla="*/ 110 h 156"/>
                    <a:gd name="T8" fmla="*/ 91 w 155"/>
                    <a:gd name="T9" fmla="*/ 110 h 156"/>
                    <a:gd name="T10" fmla="*/ 109 w 155"/>
                    <a:gd name="T11" fmla="*/ 92 h 156"/>
                    <a:gd name="T12" fmla="*/ 109 w 155"/>
                    <a:gd name="T13" fmla="*/ 64 h 156"/>
                    <a:gd name="T14" fmla="*/ 91 w 155"/>
                    <a:gd name="T15" fmla="*/ 46 h 156"/>
                    <a:gd name="T16" fmla="*/ 61 w 155"/>
                    <a:gd name="T17" fmla="*/ 0 h 156"/>
                    <a:gd name="T18" fmla="*/ 95 w 155"/>
                    <a:gd name="T19" fmla="*/ 22 h 156"/>
                    <a:gd name="T20" fmla="*/ 105 w 155"/>
                    <a:gd name="T21" fmla="*/ 26 h 156"/>
                    <a:gd name="T22" fmla="*/ 121 w 155"/>
                    <a:gd name="T23" fmla="*/ 10 h 156"/>
                    <a:gd name="T24" fmla="*/ 142 w 155"/>
                    <a:gd name="T25" fmla="*/ 33 h 156"/>
                    <a:gd name="T26" fmla="*/ 142 w 155"/>
                    <a:gd name="T27" fmla="*/ 37 h 156"/>
                    <a:gd name="T28" fmla="*/ 131 w 155"/>
                    <a:gd name="T29" fmla="*/ 56 h 156"/>
                    <a:gd name="T30" fmla="*/ 155 w 155"/>
                    <a:gd name="T31" fmla="*/ 61 h 156"/>
                    <a:gd name="T32" fmla="*/ 152 w 155"/>
                    <a:gd name="T33" fmla="*/ 96 h 156"/>
                    <a:gd name="T34" fmla="*/ 133 w 155"/>
                    <a:gd name="T35" fmla="*/ 96 h 156"/>
                    <a:gd name="T36" fmla="*/ 129 w 155"/>
                    <a:gd name="T37" fmla="*/ 106 h 156"/>
                    <a:gd name="T38" fmla="*/ 145 w 155"/>
                    <a:gd name="T39" fmla="*/ 120 h 156"/>
                    <a:gd name="T40" fmla="*/ 122 w 155"/>
                    <a:gd name="T41" fmla="*/ 143 h 156"/>
                    <a:gd name="T42" fmla="*/ 118 w 155"/>
                    <a:gd name="T43" fmla="*/ 143 h 156"/>
                    <a:gd name="T44" fmla="*/ 95 w 155"/>
                    <a:gd name="T45" fmla="*/ 133 h 156"/>
                    <a:gd name="T46" fmla="*/ 62 w 155"/>
                    <a:gd name="T47" fmla="*/ 156 h 156"/>
                    <a:gd name="T48" fmla="*/ 56 w 155"/>
                    <a:gd name="T49" fmla="*/ 132 h 156"/>
                    <a:gd name="T50" fmla="*/ 37 w 155"/>
                    <a:gd name="T51" fmla="*/ 143 h 156"/>
                    <a:gd name="T52" fmla="*/ 33 w 155"/>
                    <a:gd name="T53" fmla="*/ 143 h 156"/>
                    <a:gd name="T54" fmla="*/ 11 w 155"/>
                    <a:gd name="T55" fmla="*/ 120 h 156"/>
                    <a:gd name="T56" fmla="*/ 27 w 155"/>
                    <a:gd name="T57" fmla="*/ 106 h 156"/>
                    <a:gd name="T58" fmla="*/ 21 w 155"/>
                    <a:gd name="T59" fmla="*/ 94 h 156"/>
                    <a:gd name="T60" fmla="*/ 0 w 155"/>
                    <a:gd name="T61" fmla="*/ 60 h 156"/>
                    <a:gd name="T62" fmla="*/ 24 w 155"/>
                    <a:gd name="T63" fmla="*/ 55 h 156"/>
                    <a:gd name="T64" fmla="*/ 14 w 155"/>
                    <a:gd name="T65" fmla="*/ 37 h 156"/>
                    <a:gd name="T66" fmla="*/ 14 w 155"/>
                    <a:gd name="T67" fmla="*/ 33 h 156"/>
                    <a:gd name="T68" fmla="*/ 35 w 155"/>
                    <a:gd name="T69" fmla="*/ 10 h 156"/>
                    <a:gd name="T70" fmla="*/ 50 w 155"/>
                    <a:gd name="T71" fmla="*/ 26 h 156"/>
                    <a:gd name="T72" fmla="*/ 61 w 155"/>
                    <a:gd name="T73" fmla="*/ 2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156">
                      <a:moveTo>
                        <a:pt x="78" y="43"/>
                      </a:moveTo>
                      <a:lnTo>
                        <a:pt x="63" y="46"/>
                      </a:lnTo>
                      <a:lnTo>
                        <a:pt x="53" y="54"/>
                      </a:lnTo>
                      <a:lnTo>
                        <a:pt x="45" y="64"/>
                      </a:lnTo>
                      <a:lnTo>
                        <a:pt x="42" y="77"/>
                      </a:lnTo>
                      <a:lnTo>
                        <a:pt x="45" y="92"/>
                      </a:lnTo>
                      <a:lnTo>
                        <a:pt x="53" y="102"/>
                      </a:lnTo>
                      <a:lnTo>
                        <a:pt x="63" y="110"/>
                      </a:lnTo>
                      <a:lnTo>
                        <a:pt x="78" y="113"/>
                      </a:lnTo>
                      <a:lnTo>
                        <a:pt x="91" y="110"/>
                      </a:lnTo>
                      <a:lnTo>
                        <a:pt x="103" y="102"/>
                      </a:lnTo>
                      <a:lnTo>
                        <a:pt x="109" y="92"/>
                      </a:lnTo>
                      <a:lnTo>
                        <a:pt x="112" y="77"/>
                      </a:lnTo>
                      <a:lnTo>
                        <a:pt x="109" y="64"/>
                      </a:lnTo>
                      <a:lnTo>
                        <a:pt x="103" y="54"/>
                      </a:lnTo>
                      <a:lnTo>
                        <a:pt x="91" y="46"/>
                      </a:lnTo>
                      <a:lnTo>
                        <a:pt x="78" y="43"/>
                      </a:lnTo>
                      <a:close/>
                      <a:moveTo>
                        <a:pt x="61" y="0"/>
                      </a:moveTo>
                      <a:lnTo>
                        <a:pt x="95" y="0"/>
                      </a:lnTo>
                      <a:lnTo>
                        <a:pt x="95" y="22"/>
                      </a:lnTo>
                      <a:lnTo>
                        <a:pt x="100" y="23"/>
                      </a:lnTo>
                      <a:lnTo>
                        <a:pt x="105" y="26"/>
                      </a:lnTo>
                      <a:lnTo>
                        <a:pt x="118" y="13"/>
                      </a:lnTo>
                      <a:lnTo>
                        <a:pt x="121" y="10"/>
                      </a:lnTo>
                      <a:lnTo>
                        <a:pt x="122" y="13"/>
                      </a:lnTo>
                      <a:lnTo>
                        <a:pt x="142" y="33"/>
                      </a:lnTo>
                      <a:lnTo>
                        <a:pt x="145" y="34"/>
                      </a:lnTo>
                      <a:lnTo>
                        <a:pt x="142" y="37"/>
                      </a:lnTo>
                      <a:lnTo>
                        <a:pt x="129" y="50"/>
                      </a:lnTo>
                      <a:lnTo>
                        <a:pt x="131" y="56"/>
                      </a:lnTo>
                      <a:lnTo>
                        <a:pt x="133" y="61"/>
                      </a:lnTo>
                      <a:lnTo>
                        <a:pt x="155" y="61"/>
                      </a:lnTo>
                      <a:lnTo>
                        <a:pt x="155" y="96"/>
                      </a:lnTo>
                      <a:lnTo>
                        <a:pt x="152" y="96"/>
                      </a:lnTo>
                      <a:lnTo>
                        <a:pt x="152" y="96"/>
                      </a:lnTo>
                      <a:lnTo>
                        <a:pt x="133" y="96"/>
                      </a:lnTo>
                      <a:lnTo>
                        <a:pt x="131" y="101"/>
                      </a:lnTo>
                      <a:lnTo>
                        <a:pt x="129" y="106"/>
                      </a:lnTo>
                      <a:lnTo>
                        <a:pt x="142" y="119"/>
                      </a:lnTo>
                      <a:lnTo>
                        <a:pt x="145" y="120"/>
                      </a:lnTo>
                      <a:lnTo>
                        <a:pt x="142" y="123"/>
                      </a:lnTo>
                      <a:lnTo>
                        <a:pt x="122" y="143"/>
                      </a:lnTo>
                      <a:lnTo>
                        <a:pt x="121" y="145"/>
                      </a:lnTo>
                      <a:lnTo>
                        <a:pt x="118" y="143"/>
                      </a:lnTo>
                      <a:lnTo>
                        <a:pt x="105" y="130"/>
                      </a:lnTo>
                      <a:lnTo>
                        <a:pt x="95" y="133"/>
                      </a:lnTo>
                      <a:lnTo>
                        <a:pt x="95" y="156"/>
                      </a:lnTo>
                      <a:lnTo>
                        <a:pt x="62" y="156"/>
                      </a:lnTo>
                      <a:lnTo>
                        <a:pt x="62" y="133"/>
                      </a:lnTo>
                      <a:lnTo>
                        <a:pt x="56" y="132"/>
                      </a:lnTo>
                      <a:lnTo>
                        <a:pt x="50" y="130"/>
                      </a:lnTo>
                      <a:lnTo>
                        <a:pt x="37" y="143"/>
                      </a:lnTo>
                      <a:lnTo>
                        <a:pt x="35" y="145"/>
                      </a:lnTo>
                      <a:lnTo>
                        <a:pt x="33" y="143"/>
                      </a:lnTo>
                      <a:lnTo>
                        <a:pt x="14" y="123"/>
                      </a:lnTo>
                      <a:lnTo>
                        <a:pt x="11" y="120"/>
                      </a:lnTo>
                      <a:lnTo>
                        <a:pt x="14" y="119"/>
                      </a:lnTo>
                      <a:lnTo>
                        <a:pt x="27" y="106"/>
                      </a:lnTo>
                      <a:lnTo>
                        <a:pt x="24" y="101"/>
                      </a:lnTo>
                      <a:lnTo>
                        <a:pt x="21" y="94"/>
                      </a:lnTo>
                      <a:lnTo>
                        <a:pt x="0" y="94"/>
                      </a:lnTo>
                      <a:lnTo>
                        <a:pt x="0" y="60"/>
                      </a:lnTo>
                      <a:lnTo>
                        <a:pt x="21" y="60"/>
                      </a:lnTo>
                      <a:lnTo>
                        <a:pt x="24" y="55"/>
                      </a:lnTo>
                      <a:lnTo>
                        <a:pt x="27" y="50"/>
                      </a:lnTo>
                      <a:lnTo>
                        <a:pt x="14" y="37"/>
                      </a:lnTo>
                      <a:lnTo>
                        <a:pt x="11" y="34"/>
                      </a:lnTo>
                      <a:lnTo>
                        <a:pt x="14" y="33"/>
                      </a:lnTo>
                      <a:lnTo>
                        <a:pt x="33" y="13"/>
                      </a:lnTo>
                      <a:lnTo>
                        <a:pt x="35" y="10"/>
                      </a:lnTo>
                      <a:lnTo>
                        <a:pt x="37" y="13"/>
                      </a:lnTo>
                      <a:lnTo>
                        <a:pt x="50" y="26"/>
                      </a:lnTo>
                      <a:lnTo>
                        <a:pt x="56" y="23"/>
                      </a:lnTo>
                      <a:lnTo>
                        <a:pt x="61" y="22"/>
                      </a:lnTo>
                      <a:lnTo>
                        <a:pt x="61" y="0"/>
                      </a:lnTo>
                      <a:close/>
                    </a:path>
                  </a:pathLst>
                </a:custGeom>
                <a:solidFill>
                  <a:srgbClr val="89A14F"/>
                </a:solidFill>
                <a:ln w="0">
                  <a:noFill/>
                  <a:prstDash val="solid"/>
                  <a:round/>
                  <a:headEnd/>
                  <a:tailEnd/>
                </a:ln>
              </p:spPr>
              <p:txBody>
                <a:bodyPr/>
                <a:lstStyle/>
                <a:p>
                  <a:pPr eaLnBrk="1" fontAlgn="auto" hangingPunct="1">
                    <a:spcBef>
                      <a:spcPts val="0"/>
                    </a:spcBef>
                    <a:spcAft>
                      <a:spcPts val="0"/>
                    </a:spcAft>
                    <a:defRPr/>
                  </a:pPr>
                  <a:endParaRPr lang="en-US" dirty="0">
                    <a:latin typeface="+mn-lt"/>
                    <a:cs typeface="+mn-cs"/>
                  </a:endParaRPr>
                </a:p>
              </p:txBody>
            </p:sp>
            <p:sp>
              <p:nvSpPr>
                <p:cNvPr id="53" name="Freeform 211">
                  <a:extLst>
                    <a:ext uri="{FF2B5EF4-FFF2-40B4-BE49-F238E27FC236}">
                      <a16:creationId xmlns:a16="http://schemas.microsoft.com/office/drawing/2014/main" id="{098BDEF3-C32B-4CE3-A247-F31D367DE5F9}"/>
                    </a:ext>
                  </a:extLst>
                </p:cNvPr>
                <p:cNvSpPr>
                  <a:spLocks noEditPoints="1"/>
                </p:cNvSpPr>
                <p:nvPr/>
              </p:nvSpPr>
              <p:spPr bwMode="auto">
                <a:xfrm>
                  <a:off x="658785" y="2230090"/>
                  <a:ext cx="168275" cy="169880"/>
                </a:xfrm>
                <a:custGeom>
                  <a:avLst/>
                  <a:gdLst>
                    <a:gd name="T0" fmla="*/ 2147483646 w 121"/>
                    <a:gd name="T1" fmla="*/ 2147483646 h 122"/>
                    <a:gd name="T2" fmla="*/ 2147483646 w 121"/>
                    <a:gd name="T3" fmla="*/ 2147483646 h 122"/>
                    <a:gd name="T4" fmla="*/ 2147483646 w 121"/>
                    <a:gd name="T5" fmla="*/ 2147483646 h 122"/>
                    <a:gd name="T6" fmla="*/ 2147483646 w 121"/>
                    <a:gd name="T7" fmla="*/ 2147483646 h 122"/>
                    <a:gd name="T8" fmla="*/ 2147483646 w 121"/>
                    <a:gd name="T9" fmla="*/ 2147483646 h 122"/>
                    <a:gd name="T10" fmla="*/ 2147483646 w 121"/>
                    <a:gd name="T11" fmla="*/ 2147483646 h 122"/>
                    <a:gd name="T12" fmla="*/ 2147483646 w 121"/>
                    <a:gd name="T13" fmla="*/ 0 h 122"/>
                    <a:gd name="T14" fmla="*/ 2147483646 w 121"/>
                    <a:gd name="T15" fmla="*/ 2147483646 h 122"/>
                    <a:gd name="T16" fmla="*/ 2147483646 w 121"/>
                    <a:gd name="T17" fmla="*/ 2147483646 h 122"/>
                    <a:gd name="T18" fmla="*/ 2147483646 w 121"/>
                    <a:gd name="T19" fmla="*/ 2147483646 h 122"/>
                    <a:gd name="T20" fmla="*/ 2147483646 w 121"/>
                    <a:gd name="T21" fmla="*/ 2147483646 h 122"/>
                    <a:gd name="T22" fmla="*/ 2147483646 w 121"/>
                    <a:gd name="T23" fmla="*/ 2147483646 h 122"/>
                    <a:gd name="T24" fmla="*/ 2147483646 w 121"/>
                    <a:gd name="T25" fmla="*/ 2147483646 h 122"/>
                    <a:gd name="T26" fmla="*/ 2147483646 w 121"/>
                    <a:gd name="T27" fmla="*/ 2147483646 h 122"/>
                    <a:gd name="T28" fmla="*/ 2147483646 w 121"/>
                    <a:gd name="T29" fmla="*/ 2147483646 h 122"/>
                    <a:gd name="T30" fmla="*/ 2147483646 w 121"/>
                    <a:gd name="T31" fmla="*/ 2147483646 h 122"/>
                    <a:gd name="T32" fmla="*/ 2147483646 w 121"/>
                    <a:gd name="T33" fmla="*/ 2147483646 h 122"/>
                    <a:gd name="T34" fmla="*/ 2147483646 w 121"/>
                    <a:gd name="T35" fmla="*/ 2147483646 h 122"/>
                    <a:gd name="T36" fmla="*/ 2147483646 w 121"/>
                    <a:gd name="T37" fmla="*/ 2147483646 h 122"/>
                    <a:gd name="T38" fmla="*/ 2147483646 w 121"/>
                    <a:gd name="T39" fmla="*/ 2147483646 h 122"/>
                    <a:gd name="T40" fmla="*/ 2147483646 w 121"/>
                    <a:gd name="T41" fmla="*/ 2147483646 h 122"/>
                    <a:gd name="T42" fmla="*/ 2147483646 w 121"/>
                    <a:gd name="T43" fmla="*/ 2147483646 h 122"/>
                    <a:gd name="T44" fmla="*/ 2147483646 w 121"/>
                    <a:gd name="T45" fmla="*/ 2147483646 h 122"/>
                    <a:gd name="T46" fmla="*/ 2147483646 w 121"/>
                    <a:gd name="T47" fmla="*/ 2147483646 h 122"/>
                    <a:gd name="T48" fmla="*/ 2147483646 w 121"/>
                    <a:gd name="T49" fmla="*/ 2147483646 h 122"/>
                    <a:gd name="T50" fmla="*/ 2147483646 w 121"/>
                    <a:gd name="T51" fmla="*/ 2147483646 h 122"/>
                    <a:gd name="T52" fmla="*/ 0 w 121"/>
                    <a:gd name="T53" fmla="*/ 2147483646 h 122"/>
                    <a:gd name="T54" fmla="*/ 2147483646 w 121"/>
                    <a:gd name="T55" fmla="*/ 2147483646 h 122"/>
                    <a:gd name="T56" fmla="*/ 2147483646 w 121"/>
                    <a:gd name="T57" fmla="*/ 2147483646 h 122"/>
                    <a:gd name="T58" fmla="*/ 2147483646 w 121"/>
                    <a:gd name="T59" fmla="*/ 2147483646 h 122"/>
                    <a:gd name="T60" fmla="*/ 2147483646 w 121"/>
                    <a:gd name="T61" fmla="*/ 2147483646 h 122"/>
                    <a:gd name="T62" fmla="*/ 2147483646 w 121"/>
                    <a:gd name="T63" fmla="*/ 2147483646 h 122"/>
                    <a:gd name="T64" fmla="*/ 2147483646 w 121"/>
                    <a:gd name="T65" fmla="*/ 2147483646 h 12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1"/>
                    <a:gd name="T100" fmla="*/ 0 h 122"/>
                    <a:gd name="T101" fmla="*/ 121 w 121"/>
                    <a:gd name="T102" fmla="*/ 122 h 12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1" h="122">
                      <a:moveTo>
                        <a:pt x="60" y="33"/>
                      </a:moveTo>
                      <a:lnTo>
                        <a:pt x="45" y="37"/>
                      </a:lnTo>
                      <a:lnTo>
                        <a:pt x="36" y="47"/>
                      </a:lnTo>
                      <a:lnTo>
                        <a:pt x="32" y="61"/>
                      </a:lnTo>
                      <a:lnTo>
                        <a:pt x="36" y="75"/>
                      </a:lnTo>
                      <a:lnTo>
                        <a:pt x="45" y="84"/>
                      </a:lnTo>
                      <a:lnTo>
                        <a:pt x="60" y="88"/>
                      </a:lnTo>
                      <a:lnTo>
                        <a:pt x="74" y="84"/>
                      </a:lnTo>
                      <a:lnTo>
                        <a:pt x="83" y="75"/>
                      </a:lnTo>
                      <a:lnTo>
                        <a:pt x="87" y="61"/>
                      </a:lnTo>
                      <a:lnTo>
                        <a:pt x="83" y="47"/>
                      </a:lnTo>
                      <a:lnTo>
                        <a:pt x="74" y="37"/>
                      </a:lnTo>
                      <a:lnTo>
                        <a:pt x="60" y="33"/>
                      </a:lnTo>
                      <a:close/>
                      <a:moveTo>
                        <a:pt x="47" y="0"/>
                      </a:moveTo>
                      <a:lnTo>
                        <a:pt x="73" y="0"/>
                      </a:lnTo>
                      <a:lnTo>
                        <a:pt x="73" y="17"/>
                      </a:lnTo>
                      <a:lnTo>
                        <a:pt x="81" y="20"/>
                      </a:lnTo>
                      <a:lnTo>
                        <a:pt x="93" y="9"/>
                      </a:lnTo>
                      <a:lnTo>
                        <a:pt x="94" y="8"/>
                      </a:lnTo>
                      <a:lnTo>
                        <a:pt x="95" y="9"/>
                      </a:lnTo>
                      <a:lnTo>
                        <a:pt x="111" y="25"/>
                      </a:lnTo>
                      <a:lnTo>
                        <a:pt x="112" y="26"/>
                      </a:lnTo>
                      <a:lnTo>
                        <a:pt x="111" y="28"/>
                      </a:lnTo>
                      <a:lnTo>
                        <a:pt x="100" y="40"/>
                      </a:lnTo>
                      <a:lnTo>
                        <a:pt x="102" y="44"/>
                      </a:lnTo>
                      <a:lnTo>
                        <a:pt x="104" y="47"/>
                      </a:lnTo>
                      <a:lnTo>
                        <a:pt x="121" y="47"/>
                      </a:lnTo>
                      <a:lnTo>
                        <a:pt x="121" y="75"/>
                      </a:lnTo>
                      <a:lnTo>
                        <a:pt x="119" y="75"/>
                      </a:lnTo>
                      <a:lnTo>
                        <a:pt x="103" y="75"/>
                      </a:lnTo>
                      <a:lnTo>
                        <a:pt x="100" y="83"/>
                      </a:lnTo>
                      <a:lnTo>
                        <a:pt x="111" y="93"/>
                      </a:lnTo>
                      <a:lnTo>
                        <a:pt x="112" y="95"/>
                      </a:lnTo>
                      <a:lnTo>
                        <a:pt x="111" y="96"/>
                      </a:lnTo>
                      <a:lnTo>
                        <a:pt x="95" y="113"/>
                      </a:lnTo>
                      <a:lnTo>
                        <a:pt x="94" y="114"/>
                      </a:lnTo>
                      <a:lnTo>
                        <a:pt x="93" y="113"/>
                      </a:lnTo>
                      <a:lnTo>
                        <a:pt x="81" y="101"/>
                      </a:lnTo>
                      <a:lnTo>
                        <a:pt x="74" y="105"/>
                      </a:lnTo>
                      <a:lnTo>
                        <a:pt x="74" y="122"/>
                      </a:lnTo>
                      <a:lnTo>
                        <a:pt x="47" y="122"/>
                      </a:lnTo>
                      <a:lnTo>
                        <a:pt x="47" y="105"/>
                      </a:lnTo>
                      <a:lnTo>
                        <a:pt x="39" y="101"/>
                      </a:lnTo>
                      <a:lnTo>
                        <a:pt x="28" y="113"/>
                      </a:lnTo>
                      <a:lnTo>
                        <a:pt x="27" y="114"/>
                      </a:lnTo>
                      <a:lnTo>
                        <a:pt x="24" y="113"/>
                      </a:lnTo>
                      <a:lnTo>
                        <a:pt x="9" y="96"/>
                      </a:lnTo>
                      <a:lnTo>
                        <a:pt x="7" y="95"/>
                      </a:lnTo>
                      <a:lnTo>
                        <a:pt x="9" y="93"/>
                      </a:lnTo>
                      <a:lnTo>
                        <a:pt x="19" y="83"/>
                      </a:lnTo>
                      <a:lnTo>
                        <a:pt x="18" y="79"/>
                      </a:lnTo>
                      <a:lnTo>
                        <a:pt x="15" y="74"/>
                      </a:lnTo>
                      <a:lnTo>
                        <a:pt x="0" y="74"/>
                      </a:lnTo>
                      <a:lnTo>
                        <a:pt x="0" y="47"/>
                      </a:lnTo>
                      <a:lnTo>
                        <a:pt x="15" y="47"/>
                      </a:lnTo>
                      <a:lnTo>
                        <a:pt x="18" y="44"/>
                      </a:lnTo>
                      <a:lnTo>
                        <a:pt x="19" y="38"/>
                      </a:lnTo>
                      <a:lnTo>
                        <a:pt x="9" y="28"/>
                      </a:lnTo>
                      <a:lnTo>
                        <a:pt x="7" y="26"/>
                      </a:lnTo>
                      <a:lnTo>
                        <a:pt x="9" y="25"/>
                      </a:lnTo>
                      <a:lnTo>
                        <a:pt x="24" y="9"/>
                      </a:lnTo>
                      <a:lnTo>
                        <a:pt x="27" y="8"/>
                      </a:lnTo>
                      <a:lnTo>
                        <a:pt x="28" y="9"/>
                      </a:lnTo>
                      <a:lnTo>
                        <a:pt x="39" y="20"/>
                      </a:lnTo>
                      <a:lnTo>
                        <a:pt x="47" y="17"/>
                      </a:lnTo>
                      <a:lnTo>
                        <a:pt x="47" y="0"/>
                      </a:lnTo>
                      <a:close/>
                    </a:path>
                  </a:pathLst>
                </a:custGeom>
                <a:solidFill>
                  <a:srgbClr val="F6AA32"/>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s-ES"/>
                </a:p>
              </p:txBody>
            </p:sp>
            <p:sp>
              <p:nvSpPr>
                <p:cNvPr id="54" name="Freeform 212">
                  <a:extLst>
                    <a:ext uri="{FF2B5EF4-FFF2-40B4-BE49-F238E27FC236}">
                      <a16:creationId xmlns:a16="http://schemas.microsoft.com/office/drawing/2014/main" id="{699322E7-85E4-4073-8F7A-188FBBA3554D}"/>
                    </a:ext>
                  </a:extLst>
                </p:cNvPr>
                <p:cNvSpPr>
                  <a:spLocks noEditPoints="1"/>
                </p:cNvSpPr>
                <p:nvPr/>
              </p:nvSpPr>
              <p:spPr bwMode="auto">
                <a:xfrm>
                  <a:off x="2171180" y="3885963"/>
                  <a:ext cx="209790" cy="208422"/>
                </a:xfrm>
                <a:custGeom>
                  <a:avLst/>
                  <a:gdLst>
                    <a:gd name="T0" fmla="*/ 2147483646 w 151"/>
                    <a:gd name="T1" fmla="*/ 2147483646 h 150"/>
                    <a:gd name="T2" fmla="*/ 2147483646 w 151"/>
                    <a:gd name="T3" fmla="*/ 2147483646 h 150"/>
                    <a:gd name="T4" fmla="*/ 2147483646 w 151"/>
                    <a:gd name="T5" fmla="*/ 2147483646 h 150"/>
                    <a:gd name="T6" fmla="*/ 2147483646 w 151"/>
                    <a:gd name="T7" fmla="*/ 2147483646 h 150"/>
                    <a:gd name="T8" fmla="*/ 2147483646 w 151"/>
                    <a:gd name="T9" fmla="*/ 2147483646 h 150"/>
                    <a:gd name="T10" fmla="*/ 2147483646 w 151"/>
                    <a:gd name="T11" fmla="*/ 2147483646 h 150"/>
                    <a:gd name="T12" fmla="*/ 2147483646 w 151"/>
                    <a:gd name="T13" fmla="*/ 2147483646 h 150"/>
                    <a:gd name="T14" fmla="*/ 2147483646 w 151"/>
                    <a:gd name="T15" fmla="*/ 2147483646 h 150"/>
                    <a:gd name="T16" fmla="*/ 2147483646 w 151"/>
                    <a:gd name="T17" fmla="*/ 0 h 150"/>
                    <a:gd name="T18" fmla="*/ 2147483646 w 151"/>
                    <a:gd name="T19" fmla="*/ 2147483646 h 150"/>
                    <a:gd name="T20" fmla="*/ 2147483646 w 151"/>
                    <a:gd name="T21" fmla="*/ 2147483646 h 150"/>
                    <a:gd name="T22" fmla="*/ 2147483646 w 151"/>
                    <a:gd name="T23" fmla="*/ 2147483646 h 150"/>
                    <a:gd name="T24" fmla="*/ 2147483646 w 151"/>
                    <a:gd name="T25" fmla="*/ 2147483646 h 150"/>
                    <a:gd name="T26" fmla="*/ 2147483646 w 151"/>
                    <a:gd name="T27" fmla="*/ 2147483646 h 150"/>
                    <a:gd name="T28" fmla="*/ 2147483646 w 151"/>
                    <a:gd name="T29" fmla="*/ 2147483646 h 150"/>
                    <a:gd name="T30" fmla="*/ 2147483646 w 151"/>
                    <a:gd name="T31" fmla="*/ 2147483646 h 150"/>
                    <a:gd name="T32" fmla="*/ 2147483646 w 151"/>
                    <a:gd name="T33" fmla="*/ 2147483646 h 150"/>
                    <a:gd name="T34" fmla="*/ 2147483646 w 151"/>
                    <a:gd name="T35" fmla="*/ 2147483646 h 150"/>
                    <a:gd name="T36" fmla="*/ 2147483646 w 151"/>
                    <a:gd name="T37" fmla="*/ 2147483646 h 150"/>
                    <a:gd name="T38" fmla="*/ 2147483646 w 151"/>
                    <a:gd name="T39" fmla="*/ 2147483646 h 150"/>
                    <a:gd name="T40" fmla="*/ 2147483646 w 151"/>
                    <a:gd name="T41" fmla="*/ 2147483646 h 150"/>
                    <a:gd name="T42" fmla="*/ 2147483646 w 151"/>
                    <a:gd name="T43" fmla="*/ 2147483646 h 150"/>
                    <a:gd name="T44" fmla="*/ 2147483646 w 151"/>
                    <a:gd name="T45" fmla="*/ 2147483646 h 150"/>
                    <a:gd name="T46" fmla="*/ 2147483646 w 151"/>
                    <a:gd name="T47" fmla="*/ 2147483646 h 150"/>
                    <a:gd name="T48" fmla="*/ 2147483646 w 151"/>
                    <a:gd name="T49" fmla="*/ 2147483646 h 150"/>
                    <a:gd name="T50" fmla="*/ 2147483646 w 151"/>
                    <a:gd name="T51" fmla="*/ 2147483646 h 150"/>
                    <a:gd name="T52" fmla="*/ 2147483646 w 151"/>
                    <a:gd name="T53" fmla="*/ 2147483646 h 150"/>
                    <a:gd name="T54" fmla="*/ 2147483646 w 151"/>
                    <a:gd name="T55" fmla="*/ 2147483646 h 150"/>
                    <a:gd name="T56" fmla="*/ 2147483646 w 151"/>
                    <a:gd name="T57" fmla="*/ 2147483646 h 150"/>
                    <a:gd name="T58" fmla="*/ 0 w 151"/>
                    <a:gd name="T59" fmla="*/ 2147483646 h 150"/>
                    <a:gd name="T60" fmla="*/ 2147483646 w 151"/>
                    <a:gd name="T61" fmla="*/ 2147483646 h 150"/>
                    <a:gd name="T62" fmla="*/ 2147483646 w 151"/>
                    <a:gd name="T63" fmla="*/ 2147483646 h 150"/>
                    <a:gd name="T64" fmla="*/ 2147483646 w 151"/>
                    <a:gd name="T65" fmla="*/ 2147483646 h 150"/>
                    <a:gd name="T66" fmla="*/ 2147483646 w 151"/>
                    <a:gd name="T67" fmla="*/ 2147483646 h 150"/>
                    <a:gd name="T68" fmla="*/ 2147483646 w 151"/>
                    <a:gd name="T69" fmla="*/ 2147483646 h 150"/>
                    <a:gd name="T70" fmla="*/ 2147483646 w 151"/>
                    <a:gd name="T71" fmla="*/ 2147483646 h 1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51"/>
                    <a:gd name="T109" fmla="*/ 0 h 150"/>
                    <a:gd name="T110" fmla="*/ 151 w 151"/>
                    <a:gd name="T111" fmla="*/ 150 h 15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51" h="150">
                      <a:moveTo>
                        <a:pt x="75" y="42"/>
                      </a:moveTo>
                      <a:lnTo>
                        <a:pt x="62" y="44"/>
                      </a:lnTo>
                      <a:lnTo>
                        <a:pt x="51" y="51"/>
                      </a:lnTo>
                      <a:lnTo>
                        <a:pt x="44" y="61"/>
                      </a:lnTo>
                      <a:lnTo>
                        <a:pt x="41" y="74"/>
                      </a:lnTo>
                      <a:lnTo>
                        <a:pt x="44" y="87"/>
                      </a:lnTo>
                      <a:lnTo>
                        <a:pt x="51" y="99"/>
                      </a:lnTo>
                      <a:lnTo>
                        <a:pt x="62" y="106"/>
                      </a:lnTo>
                      <a:lnTo>
                        <a:pt x="75" y="108"/>
                      </a:lnTo>
                      <a:lnTo>
                        <a:pt x="88" y="106"/>
                      </a:lnTo>
                      <a:lnTo>
                        <a:pt x="99" y="99"/>
                      </a:lnTo>
                      <a:lnTo>
                        <a:pt x="106" y="87"/>
                      </a:lnTo>
                      <a:lnTo>
                        <a:pt x="109" y="74"/>
                      </a:lnTo>
                      <a:lnTo>
                        <a:pt x="106" y="61"/>
                      </a:lnTo>
                      <a:lnTo>
                        <a:pt x="99" y="51"/>
                      </a:lnTo>
                      <a:lnTo>
                        <a:pt x="88" y="44"/>
                      </a:lnTo>
                      <a:lnTo>
                        <a:pt x="75" y="42"/>
                      </a:lnTo>
                      <a:close/>
                      <a:moveTo>
                        <a:pt x="58" y="0"/>
                      </a:moveTo>
                      <a:lnTo>
                        <a:pt x="91" y="0"/>
                      </a:lnTo>
                      <a:lnTo>
                        <a:pt x="91" y="21"/>
                      </a:lnTo>
                      <a:lnTo>
                        <a:pt x="96" y="22"/>
                      </a:lnTo>
                      <a:lnTo>
                        <a:pt x="101" y="24"/>
                      </a:lnTo>
                      <a:lnTo>
                        <a:pt x="114" y="11"/>
                      </a:lnTo>
                      <a:lnTo>
                        <a:pt x="117" y="10"/>
                      </a:lnTo>
                      <a:lnTo>
                        <a:pt x="118" y="11"/>
                      </a:lnTo>
                      <a:lnTo>
                        <a:pt x="138" y="31"/>
                      </a:lnTo>
                      <a:lnTo>
                        <a:pt x="139" y="32"/>
                      </a:lnTo>
                      <a:lnTo>
                        <a:pt x="138" y="35"/>
                      </a:lnTo>
                      <a:lnTo>
                        <a:pt x="125" y="48"/>
                      </a:lnTo>
                      <a:lnTo>
                        <a:pt x="127" y="53"/>
                      </a:lnTo>
                      <a:lnTo>
                        <a:pt x="129" y="59"/>
                      </a:lnTo>
                      <a:lnTo>
                        <a:pt x="151" y="59"/>
                      </a:lnTo>
                      <a:lnTo>
                        <a:pt x="151" y="91"/>
                      </a:lnTo>
                      <a:lnTo>
                        <a:pt x="129" y="91"/>
                      </a:lnTo>
                      <a:lnTo>
                        <a:pt x="127" y="97"/>
                      </a:lnTo>
                      <a:lnTo>
                        <a:pt x="125" y="102"/>
                      </a:lnTo>
                      <a:lnTo>
                        <a:pt x="138" y="115"/>
                      </a:lnTo>
                      <a:lnTo>
                        <a:pt x="139" y="117"/>
                      </a:lnTo>
                      <a:lnTo>
                        <a:pt x="138" y="119"/>
                      </a:lnTo>
                      <a:lnTo>
                        <a:pt x="118" y="138"/>
                      </a:lnTo>
                      <a:lnTo>
                        <a:pt x="117" y="140"/>
                      </a:lnTo>
                      <a:lnTo>
                        <a:pt x="114" y="138"/>
                      </a:lnTo>
                      <a:lnTo>
                        <a:pt x="101" y="125"/>
                      </a:lnTo>
                      <a:lnTo>
                        <a:pt x="92" y="129"/>
                      </a:lnTo>
                      <a:lnTo>
                        <a:pt x="92" y="150"/>
                      </a:lnTo>
                      <a:lnTo>
                        <a:pt x="59" y="150"/>
                      </a:lnTo>
                      <a:lnTo>
                        <a:pt x="59" y="129"/>
                      </a:lnTo>
                      <a:lnTo>
                        <a:pt x="54" y="128"/>
                      </a:lnTo>
                      <a:lnTo>
                        <a:pt x="49" y="125"/>
                      </a:lnTo>
                      <a:lnTo>
                        <a:pt x="36" y="138"/>
                      </a:lnTo>
                      <a:lnTo>
                        <a:pt x="33" y="140"/>
                      </a:lnTo>
                      <a:lnTo>
                        <a:pt x="32" y="138"/>
                      </a:lnTo>
                      <a:lnTo>
                        <a:pt x="12" y="119"/>
                      </a:lnTo>
                      <a:lnTo>
                        <a:pt x="11" y="117"/>
                      </a:lnTo>
                      <a:lnTo>
                        <a:pt x="12" y="115"/>
                      </a:lnTo>
                      <a:lnTo>
                        <a:pt x="25" y="102"/>
                      </a:lnTo>
                      <a:lnTo>
                        <a:pt x="23" y="97"/>
                      </a:lnTo>
                      <a:lnTo>
                        <a:pt x="20" y="91"/>
                      </a:lnTo>
                      <a:lnTo>
                        <a:pt x="0" y="91"/>
                      </a:lnTo>
                      <a:lnTo>
                        <a:pt x="0" y="59"/>
                      </a:lnTo>
                      <a:lnTo>
                        <a:pt x="20" y="59"/>
                      </a:lnTo>
                      <a:lnTo>
                        <a:pt x="23" y="52"/>
                      </a:lnTo>
                      <a:lnTo>
                        <a:pt x="25" y="47"/>
                      </a:lnTo>
                      <a:lnTo>
                        <a:pt x="12" y="35"/>
                      </a:lnTo>
                      <a:lnTo>
                        <a:pt x="11" y="32"/>
                      </a:lnTo>
                      <a:lnTo>
                        <a:pt x="12" y="31"/>
                      </a:lnTo>
                      <a:lnTo>
                        <a:pt x="32" y="11"/>
                      </a:lnTo>
                      <a:lnTo>
                        <a:pt x="33" y="10"/>
                      </a:lnTo>
                      <a:lnTo>
                        <a:pt x="36" y="11"/>
                      </a:lnTo>
                      <a:lnTo>
                        <a:pt x="49" y="24"/>
                      </a:lnTo>
                      <a:lnTo>
                        <a:pt x="53" y="22"/>
                      </a:lnTo>
                      <a:lnTo>
                        <a:pt x="58" y="21"/>
                      </a:lnTo>
                      <a:lnTo>
                        <a:pt x="58" y="0"/>
                      </a:lnTo>
                      <a:close/>
                    </a:path>
                  </a:pathLst>
                </a:custGeom>
                <a:solidFill>
                  <a:srgbClr val="91969A"/>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s-ES"/>
                </a:p>
              </p:txBody>
            </p:sp>
            <p:sp>
              <p:nvSpPr>
                <p:cNvPr id="55" name="Freeform 213">
                  <a:extLst>
                    <a:ext uri="{FF2B5EF4-FFF2-40B4-BE49-F238E27FC236}">
                      <a16:creationId xmlns:a16="http://schemas.microsoft.com/office/drawing/2014/main" id="{F115D5D8-790B-4ECF-91A1-FE663B868622}"/>
                    </a:ext>
                  </a:extLst>
                </p:cNvPr>
                <p:cNvSpPr>
                  <a:spLocks noEditPoints="1"/>
                </p:cNvSpPr>
                <p:nvPr/>
              </p:nvSpPr>
              <p:spPr bwMode="auto">
                <a:xfrm>
                  <a:off x="1909735" y="3360513"/>
                  <a:ext cx="476250" cy="477889"/>
                </a:xfrm>
                <a:custGeom>
                  <a:avLst/>
                  <a:gdLst>
                    <a:gd name="T0" fmla="*/ 146 w 343"/>
                    <a:gd name="T1" fmla="*/ 99 h 344"/>
                    <a:gd name="T2" fmla="*/ 108 w 343"/>
                    <a:gd name="T3" fmla="*/ 128 h 344"/>
                    <a:gd name="T4" fmla="*/ 94 w 343"/>
                    <a:gd name="T5" fmla="*/ 172 h 344"/>
                    <a:gd name="T6" fmla="*/ 108 w 343"/>
                    <a:gd name="T7" fmla="*/ 218 h 344"/>
                    <a:gd name="T8" fmla="*/ 146 w 343"/>
                    <a:gd name="T9" fmla="*/ 245 h 344"/>
                    <a:gd name="T10" fmla="*/ 195 w 343"/>
                    <a:gd name="T11" fmla="*/ 245 h 344"/>
                    <a:gd name="T12" fmla="*/ 233 w 343"/>
                    <a:gd name="T13" fmla="*/ 218 h 344"/>
                    <a:gd name="T14" fmla="*/ 247 w 343"/>
                    <a:gd name="T15" fmla="*/ 172 h 344"/>
                    <a:gd name="T16" fmla="*/ 233 w 343"/>
                    <a:gd name="T17" fmla="*/ 128 h 344"/>
                    <a:gd name="T18" fmla="*/ 195 w 343"/>
                    <a:gd name="T19" fmla="*/ 99 h 344"/>
                    <a:gd name="T20" fmla="*/ 133 w 343"/>
                    <a:gd name="T21" fmla="*/ 0 h 344"/>
                    <a:gd name="T22" fmla="*/ 208 w 343"/>
                    <a:gd name="T23" fmla="*/ 49 h 344"/>
                    <a:gd name="T24" fmla="*/ 262 w 343"/>
                    <a:gd name="T25" fmla="*/ 28 h 344"/>
                    <a:gd name="T26" fmla="*/ 270 w 343"/>
                    <a:gd name="T27" fmla="*/ 28 h 344"/>
                    <a:gd name="T28" fmla="*/ 319 w 343"/>
                    <a:gd name="T29" fmla="*/ 76 h 344"/>
                    <a:gd name="T30" fmla="*/ 284 w 343"/>
                    <a:gd name="T31" fmla="*/ 110 h 344"/>
                    <a:gd name="T32" fmla="*/ 343 w 343"/>
                    <a:gd name="T33" fmla="*/ 137 h 344"/>
                    <a:gd name="T34" fmla="*/ 294 w 343"/>
                    <a:gd name="T35" fmla="*/ 210 h 344"/>
                    <a:gd name="T36" fmla="*/ 315 w 343"/>
                    <a:gd name="T37" fmla="*/ 264 h 344"/>
                    <a:gd name="T38" fmla="*/ 315 w 343"/>
                    <a:gd name="T39" fmla="*/ 272 h 344"/>
                    <a:gd name="T40" fmla="*/ 266 w 343"/>
                    <a:gd name="T41" fmla="*/ 320 h 344"/>
                    <a:gd name="T42" fmla="*/ 232 w 343"/>
                    <a:gd name="T43" fmla="*/ 286 h 344"/>
                    <a:gd name="T44" fmla="*/ 209 w 343"/>
                    <a:gd name="T45" fmla="*/ 344 h 344"/>
                    <a:gd name="T46" fmla="*/ 136 w 343"/>
                    <a:gd name="T47" fmla="*/ 296 h 344"/>
                    <a:gd name="T48" fmla="*/ 81 w 343"/>
                    <a:gd name="T49" fmla="*/ 316 h 344"/>
                    <a:gd name="T50" fmla="*/ 73 w 343"/>
                    <a:gd name="T51" fmla="*/ 316 h 344"/>
                    <a:gd name="T52" fmla="*/ 25 w 343"/>
                    <a:gd name="T53" fmla="*/ 268 h 344"/>
                    <a:gd name="T54" fmla="*/ 59 w 343"/>
                    <a:gd name="T55" fmla="*/ 235 h 344"/>
                    <a:gd name="T56" fmla="*/ 0 w 343"/>
                    <a:gd name="T57" fmla="*/ 209 h 344"/>
                    <a:gd name="T58" fmla="*/ 48 w 343"/>
                    <a:gd name="T59" fmla="*/ 134 h 344"/>
                    <a:gd name="T60" fmla="*/ 29 w 343"/>
                    <a:gd name="T61" fmla="*/ 80 h 344"/>
                    <a:gd name="T62" fmla="*/ 29 w 343"/>
                    <a:gd name="T63" fmla="*/ 73 h 344"/>
                    <a:gd name="T64" fmla="*/ 81 w 343"/>
                    <a:gd name="T65" fmla="*/ 28 h 344"/>
                    <a:gd name="T66" fmla="*/ 133 w 343"/>
                    <a:gd name="T67" fmla="*/ 4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3" h="344">
                      <a:moveTo>
                        <a:pt x="170" y="95"/>
                      </a:moveTo>
                      <a:lnTo>
                        <a:pt x="146" y="99"/>
                      </a:lnTo>
                      <a:lnTo>
                        <a:pt x="125" y="110"/>
                      </a:lnTo>
                      <a:lnTo>
                        <a:pt x="108" y="128"/>
                      </a:lnTo>
                      <a:lnTo>
                        <a:pt x="98" y="148"/>
                      </a:lnTo>
                      <a:lnTo>
                        <a:pt x="94" y="172"/>
                      </a:lnTo>
                      <a:lnTo>
                        <a:pt x="98" y="197"/>
                      </a:lnTo>
                      <a:lnTo>
                        <a:pt x="108" y="218"/>
                      </a:lnTo>
                      <a:lnTo>
                        <a:pt x="125" y="235"/>
                      </a:lnTo>
                      <a:lnTo>
                        <a:pt x="146" y="245"/>
                      </a:lnTo>
                      <a:lnTo>
                        <a:pt x="170" y="249"/>
                      </a:lnTo>
                      <a:lnTo>
                        <a:pt x="195" y="245"/>
                      </a:lnTo>
                      <a:lnTo>
                        <a:pt x="216" y="235"/>
                      </a:lnTo>
                      <a:lnTo>
                        <a:pt x="233" y="218"/>
                      </a:lnTo>
                      <a:lnTo>
                        <a:pt x="243" y="197"/>
                      </a:lnTo>
                      <a:lnTo>
                        <a:pt x="247" y="172"/>
                      </a:lnTo>
                      <a:lnTo>
                        <a:pt x="243" y="148"/>
                      </a:lnTo>
                      <a:lnTo>
                        <a:pt x="233" y="128"/>
                      </a:lnTo>
                      <a:lnTo>
                        <a:pt x="216" y="110"/>
                      </a:lnTo>
                      <a:lnTo>
                        <a:pt x="195" y="99"/>
                      </a:lnTo>
                      <a:lnTo>
                        <a:pt x="170" y="95"/>
                      </a:lnTo>
                      <a:close/>
                      <a:moveTo>
                        <a:pt x="133" y="0"/>
                      </a:moveTo>
                      <a:lnTo>
                        <a:pt x="208" y="0"/>
                      </a:lnTo>
                      <a:lnTo>
                        <a:pt x="208" y="49"/>
                      </a:lnTo>
                      <a:lnTo>
                        <a:pt x="232" y="58"/>
                      </a:lnTo>
                      <a:lnTo>
                        <a:pt x="262" y="28"/>
                      </a:lnTo>
                      <a:lnTo>
                        <a:pt x="266" y="24"/>
                      </a:lnTo>
                      <a:lnTo>
                        <a:pt x="270" y="28"/>
                      </a:lnTo>
                      <a:lnTo>
                        <a:pt x="315" y="73"/>
                      </a:lnTo>
                      <a:lnTo>
                        <a:pt x="319" y="76"/>
                      </a:lnTo>
                      <a:lnTo>
                        <a:pt x="315" y="80"/>
                      </a:lnTo>
                      <a:lnTo>
                        <a:pt x="284" y="110"/>
                      </a:lnTo>
                      <a:lnTo>
                        <a:pt x="294" y="137"/>
                      </a:lnTo>
                      <a:lnTo>
                        <a:pt x="343" y="137"/>
                      </a:lnTo>
                      <a:lnTo>
                        <a:pt x="343" y="210"/>
                      </a:lnTo>
                      <a:lnTo>
                        <a:pt x="294" y="210"/>
                      </a:lnTo>
                      <a:lnTo>
                        <a:pt x="284" y="234"/>
                      </a:lnTo>
                      <a:lnTo>
                        <a:pt x="315" y="264"/>
                      </a:lnTo>
                      <a:lnTo>
                        <a:pt x="319" y="268"/>
                      </a:lnTo>
                      <a:lnTo>
                        <a:pt x="315" y="272"/>
                      </a:lnTo>
                      <a:lnTo>
                        <a:pt x="270" y="316"/>
                      </a:lnTo>
                      <a:lnTo>
                        <a:pt x="266" y="320"/>
                      </a:lnTo>
                      <a:lnTo>
                        <a:pt x="262" y="316"/>
                      </a:lnTo>
                      <a:lnTo>
                        <a:pt x="232" y="286"/>
                      </a:lnTo>
                      <a:lnTo>
                        <a:pt x="209" y="295"/>
                      </a:lnTo>
                      <a:lnTo>
                        <a:pt x="209" y="344"/>
                      </a:lnTo>
                      <a:lnTo>
                        <a:pt x="136" y="344"/>
                      </a:lnTo>
                      <a:lnTo>
                        <a:pt x="136" y="296"/>
                      </a:lnTo>
                      <a:lnTo>
                        <a:pt x="111" y="287"/>
                      </a:lnTo>
                      <a:lnTo>
                        <a:pt x="81" y="316"/>
                      </a:lnTo>
                      <a:lnTo>
                        <a:pt x="77" y="320"/>
                      </a:lnTo>
                      <a:lnTo>
                        <a:pt x="73" y="316"/>
                      </a:lnTo>
                      <a:lnTo>
                        <a:pt x="29" y="272"/>
                      </a:lnTo>
                      <a:lnTo>
                        <a:pt x="25" y="268"/>
                      </a:lnTo>
                      <a:lnTo>
                        <a:pt x="29" y="264"/>
                      </a:lnTo>
                      <a:lnTo>
                        <a:pt x="59" y="235"/>
                      </a:lnTo>
                      <a:lnTo>
                        <a:pt x="47" y="209"/>
                      </a:lnTo>
                      <a:lnTo>
                        <a:pt x="0" y="209"/>
                      </a:lnTo>
                      <a:lnTo>
                        <a:pt x="0" y="134"/>
                      </a:lnTo>
                      <a:lnTo>
                        <a:pt x="48" y="134"/>
                      </a:lnTo>
                      <a:lnTo>
                        <a:pt x="59" y="110"/>
                      </a:lnTo>
                      <a:lnTo>
                        <a:pt x="29" y="80"/>
                      </a:lnTo>
                      <a:lnTo>
                        <a:pt x="25" y="76"/>
                      </a:lnTo>
                      <a:lnTo>
                        <a:pt x="29" y="73"/>
                      </a:lnTo>
                      <a:lnTo>
                        <a:pt x="77" y="24"/>
                      </a:lnTo>
                      <a:lnTo>
                        <a:pt x="81" y="28"/>
                      </a:lnTo>
                      <a:lnTo>
                        <a:pt x="111" y="58"/>
                      </a:lnTo>
                      <a:lnTo>
                        <a:pt x="133" y="49"/>
                      </a:lnTo>
                      <a:lnTo>
                        <a:pt x="133" y="0"/>
                      </a:lnTo>
                      <a:close/>
                    </a:path>
                  </a:pathLst>
                </a:custGeom>
                <a:solidFill>
                  <a:srgbClr val="F6AA32"/>
                </a:solidFill>
                <a:ln w="0">
                  <a:noFill/>
                  <a:prstDash val="solid"/>
                  <a:round/>
                  <a:headEnd/>
                  <a:tailEnd/>
                </a:ln>
              </p:spPr>
              <p:txBody>
                <a:bodyPr/>
                <a:lstStyle/>
                <a:p>
                  <a:pPr eaLnBrk="1" fontAlgn="auto" hangingPunct="1">
                    <a:spcBef>
                      <a:spcPts val="0"/>
                    </a:spcBef>
                    <a:spcAft>
                      <a:spcPts val="0"/>
                    </a:spcAft>
                    <a:defRPr/>
                  </a:pPr>
                  <a:endParaRPr lang="en-US" dirty="0">
                    <a:latin typeface="+mn-lt"/>
                    <a:cs typeface="+mn-cs"/>
                  </a:endParaRPr>
                </a:p>
              </p:txBody>
            </p:sp>
            <p:sp>
              <p:nvSpPr>
                <p:cNvPr id="56" name="Freeform 214">
                  <a:extLst>
                    <a:ext uri="{FF2B5EF4-FFF2-40B4-BE49-F238E27FC236}">
                      <a16:creationId xmlns:a16="http://schemas.microsoft.com/office/drawing/2014/main" id="{6DC857A3-F8EF-4D0D-B4E2-84013638E205}"/>
                    </a:ext>
                  </a:extLst>
                </p:cNvPr>
                <p:cNvSpPr>
                  <a:spLocks noEditPoints="1"/>
                </p:cNvSpPr>
                <p:nvPr/>
              </p:nvSpPr>
              <p:spPr bwMode="auto">
                <a:xfrm>
                  <a:off x="2346298" y="3711388"/>
                  <a:ext cx="236537" cy="236564"/>
                </a:xfrm>
                <a:custGeom>
                  <a:avLst/>
                  <a:gdLst>
                    <a:gd name="T0" fmla="*/ 70 w 170"/>
                    <a:gd name="T1" fmla="*/ 50 h 170"/>
                    <a:gd name="T2" fmla="*/ 50 w 170"/>
                    <a:gd name="T3" fmla="*/ 71 h 170"/>
                    <a:gd name="T4" fmla="*/ 50 w 170"/>
                    <a:gd name="T5" fmla="*/ 101 h 170"/>
                    <a:gd name="T6" fmla="*/ 70 w 170"/>
                    <a:gd name="T7" fmla="*/ 121 h 170"/>
                    <a:gd name="T8" fmla="*/ 100 w 170"/>
                    <a:gd name="T9" fmla="*/ 121 h 170"/>
                    <a:gd name="T10" fmla="*/ 121 w 170"/>
                    <a:gd name="T11" fmla="*/ 101 h 170"/>
                    <a:gd name="T12" fmla="*/ 121 w 170"/>
                    <a:gd name="T13" fmla="*/ 71 h 170"/>
                    <a:gd name="T14" fmla="*/ 100 w 170"/>
                    <a:gd name="T15" fmla="*/ 50 h 170"/>
                    <a:gd name="T16" fmla="*/ 67 w 170"/>
                    <a:gd name="T17" fmla="*/ 0 h 170"/>
                    <a:gd name="T18" fmla="*/ 104 w 170"/>
                    <a:gd name="T19" fmla="*/ 24 h 170"/>
                    <a:gd name="T20" fmla="*/ 115 w 170"/>
                    <a:gd name="T21" fmla="*/ 29 h 170"/>
                    <a:gd name="T22" fmla="*/ 132 w 170"/>
                    <a:gd name="T23" fmla="*/ 12 h 170"/>
                    <a:gd name="T24" fmla="*/ 157 w 170"/>
                    <a:gd name="T25" fmla="*/ 36 h 170"/>
                    <a:gd name="T26" fmla="*/ 157 w 170"/>
                    <a:gd name="T27" fmla="*/ 39 h 170"/>
                    <a:gd name="T28" fmla="*/ 144 w 170"/>
                    <a:gd name="T29" fmla="*/ 62 h 170"/>
                    <a:gd name="T30" fmla="*/ 170 w 170"/>
                    <a:gd name="T31" fmla="*/ 68 h 170"/>
                    <a:gd name="T32" fmla="*/ 147 w 170"/>
                    <a:gd name="T33" fmla="*/ 105 h 170"/>
                    <a:gd name="T34" fmla="*/ 142 w 170"/>
                    <a:gd name="T35" fmla="*/ 117 h 170"/>
                    <a:gd name="T36" fmla="*/ 159 w 170"/>
                    <a:gd name="T37" fmla="*/ 134 h 170"/>
                    <a:gd name="T38" fmla="*/ 135 w 170"/>
                    <a:gd name="T39" fmla="*/ 157 h 170"/>
                    <a:gd name="T40" fmla="*/ 131 w 170"/>
                    <a:gd name="T41" fmla="*/ 157 h 170"/>
                    <a:gd name="T42" fmla="*/ 110 w 170"/>
                    <a:gd name="T43" fmla="*/ 144 h 170"/>
                    <a:gd name="T44" fmla="*/ 105 w 170"/>
                    <a:gd name="T45" fmla="*/ 170 h 170"/>
                    <a:gd name="T46" fmla="*/ 67 w 170"/>
                    <a:gd name="T47" fmla="*/ 147 h 170"/>
                    <a:gd name="T48" fmla="*/ 55 w 170"/>
                    <a:gd name="T49" fmla="*/ 143 h 170"/>
                    <a:gd name="T50" fmla="*/ 38 w 170"/>
                    <a:gd name="T51" fmla="*/ 160 h 170"/>
                    <a:gd name="T52" fmla="*/ 15 w 170"/>
                    <a:gd name="T53" fmla="*/ 135 h 170"/>
                    <a:gd name="T54" fmla="*/ 15 w 170"/>
                    <a:gd name="T55" fmla="*/ 131 h 170"/>
                    <a:gd name="T56" fmla="*/ 26 w 170"/>
                    <a:gd name="T57" fmla="*/ 110 h 170"/>
                    <a:gd name="T58" fmla="*/ 0 w 170"/>
                    <a:gd name="T59" fmla="*/ 104 h 170"/>
                    <a:gd name="T60" fmla="*/ 24 w 170"/>
                    <a:gd name="T61" fmla="*/ 67 h 170"/>
                    <a:gd name="T62" fmla="*/ 29 w 170"/>
                    <a:gd name="T63" fmla="*/ 55 h 170"/>
                    <a:gd name="T64" fmla="*/ 12 w 170"/>
                    <a:gd name="T65" fmla="*/ 38 h 170"/>
                    <a:gd name="T66" fmla="*/ 37 w 170"/>
                    <a:gd name="T67" fmla="*/ 13 h 170"/>
                    <a:gd name="T68" fmla="*/ 41 w 170"/>
                    <a:gd name="T69" fmla="*/ 13 h 170"/>
                    <a:gd name="T70" fmla="*/ 60 w 170"/>
                    <a:gd name="T71" fmla="*/ 26 h 170"/>
                    <a:gd name="T72" fmla="*/ 67 w 170"/>
                    <a:gd name="T7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0" h="170">
                      <a:moveTo>
                        <a:pt x="85" y="47"/>
                      </a:moveTo>
                      <a:lnTo>
                        <a:pt x="70" y="50"/>
                      </a:lnTo>
                      <a:lnTo>
                        <a:pt x="58" y="59"/>
                      </a:lnTo>
                      <a:lnTo>
                        <a:pt x="50" y="71"/>
                      </a:lnTo>
                      <a:lnTo>
                        <a:pt x="47" y="85"/>
                      </a:lnTo>
                      <a:lnTo>
                        <a:pt x="50" y="101"/>
                      </a:lnTo>
                      <a:lnTo>
                        <a:pt x="58" y="113"/>
                      </a:lnTo>
                      <a:lnTo>
                        <a:pt x="70" y="121"/>
                      </a:lnTo>
                      <a:lnTo>
                        <a:pt x="85" y="125"/>
                      </a:lnTo>
                      <a:lnTo>
                        <a:pt x="100" y="121"/>
                      </a:lnTo>
                      <a:lnTo>
                        <a:pt x="113" y="113"/>
                      </a:lnTo>
                      <a:lnTo>
                        <a:pt x="121" y="101"/>
                      </a:lnTo>
                      <a:lnTo>
                        <a:pt x="123" y="85"/>
                      </a:lnTo>
                      <a:lnTo>
                        <a:pt x="121" y="71"/>
                      </a:lnTo>
                      <a:lnTo>
                        <a:pt x="113" y="59"/>
                      </a:lnTo>
                      <a:lnTo>
                        <a:pt x="100" y="50"/>
                      </a:lnTo>
                      <a:lnTo>
                        <a:pt x="85" y="47"/>
                      </a:lnTo>
                      <a:close/>
                      <a:moveTo>
                        <a:pt x="67" y="0"/>
                      </a:moveTo>
                      <a:lnTo>
                        <a:pt x="104" y="0"/>
                      </a:lnTo>
                      <a:lnTo>
                        <a:pt x="104" y="24"/>
                      </a:lnTo>
                      <a:lnTo>
                        <a:pt x="110" y="26"/>
                      </a:lnTo>
                      <a:lnTo>
                        <a:pt x="115" y="29"/>
                      </a:lnTo>
                      <a:lnTo>
                        <a:pt x="131" y="13"/>
                      </a:lnTo>
                      <a:lnTo>
                        <a:pt x="132" y="12"/>
                      </a:lnTo>
                      <a:lnTo>
                        <a:pt x="135" y="13"/>
                      </a:lnTo>
                      <a:lnTo>
                        <a:pt x="157" y="36"/>
                      </a:lnTo>
                      <a:lnTo>
                        <a:pt x="159" y="38"/>
                      </a:lnTo>
                      <a:lnTo>
                        <a:pt x="157" y="39"/>
                      </a:lnTo>
                      <a:lnTo>
                        <a:pt x="142" y="55"/>
                      </a:lnTo>
                      <a:lnTo>
                        <a:pt x="144" y="62"/>
                      </a:lnTo>
                      <a:lnTo>
                        <a:pt x="147" y="68"/>
                      </a:lnTo>
                      <a:lnTo>
                        <a:pt x="170" y="68"/>
                      </a:lnTo>
                      <a:lnTo>
                        <a:pt x="170" y="105"/>
                      </a:lnTo>
                      <a:lnTo>
                        <a:pt x="147" y="105"/>
                      </a:lnTo>
                      <a:lnTo>
                        <a:pt x="144" y="110"/>
                      </a:lnTo>
                      <a:lnTo>
                        <a:pt x="142" y="117"/>
                      </a:lnTo>
                      <a:lnTo>
                        <a:pt x="157" y="131"/>
                      </a:lnTo>
                      <a:lnTo>
                        <a:pt x="159" y="134"/>
                      </a:lnTo>
                      <a:lnTo>
                        <a:pt x="157" y="135"/>
                      </a:lnTo>
                      <a:lnTo>
                        <a:pt x="135" y="157"/>
                      </a:lnTo>
                      <a:lnTo>
                        <a:pt x="132" y="160"/>
                      </a:lnTo>
                      <a:lnTo>
                        <a:pt x="131" y="157"/>
                      </a:lnTo>
                      <a:lnTo>
                        <a:pt x="115" y="143"/>
                      </a:lnTo>
                      <a:lnTo>
                        <a:pt x="110" y="144"/>
                      </a:lnTo>
                      <a:lnTo>
                        <a:pt x="105" y="147"/>
                      </a:lnTo>
                      <a:lnTo>
                        <a:pt x="105" y="170"/>
                      </a:lnTo>
                      <a:lnTo>
                        <a:pt x="67" y="170"/>
                      </a:lnTo>
                      <a:lnTo>
                        <a:pt x="67" y="147"/>
                      </a:lnTo>
                      <a:lnTo>
                        <a:pt x="62" y="146"/>
                      </a:lnTo>
                      <a:lnTo>
                        <a:pt x="55" y="143"/>
                      </a:lnTo>
                      <a:lnTo>
                        <a:pt x="41" y="157"/>
                      </a:lnTo>
                      <a:lnTo>
                        <a:pt x="38" y="160"/>
                      </a:lnTo>
                      <a:lnTo>
                        <a:pt x="37" y="157"/>
                      </a:lnTo>
                      <a:lnTo>
                        <a:pt x="15" y="135"/>
                      </a:lnTo>
                      <a:lnTo>
                        <a:pt x="12" y="134"/>
                      </a:lnTo>
                      <a:lnTo>
                        <a:pt x="15" y="131"/>
                      </a:lnTo>
                      <a:lnTo>
                        <a:pt x="29" y="117"/>
                      </a:lnTo>
                      <a:lnTo>
                        <a:pt x="26" y="110"/>
                      </a:lnTo>
                      <a:lnTo>
                        <a:pt x="24" y="104"/>
                      </a:lnTo>
                      <a:lnTo>
                        <a:pt x="0" y="104"/>
                      </a:lnTo>
                      <a:lnTo>
                        <a:pt x="0" y="67"/>
                      </a:lnTo>
                      <a:lnTo>
                        <a:pt x="24" y="67"/>
                      </a:lnTo>
                      <a:lnTo>
                        <a:pt x="26" y="60"/>
                      </a:lnTo>
                      <a:lnTo>
                        <a:pt x="29" y="55"/>
                      </a:lnTo>
                      <a:lnTo>
                        <a:pt x="15" y="39"/>
                      </a:lnTo>
                      <a:lnTo>
                        <a:pt x="12" y="38"/>
                      </a:lnTo>
                      <a:lnTo>
                        <a:pt x="15" y="36"/>
                      </a:lnTo>
                      <a:lnTo>
                        <a:pt x="37" y="13"/>
                      </a:lnTo>
                      <a:lnTo>
                        <a:pt x="38" y="12"/>
                      </a:lnTo>
                      <a:lnTo>
                        <a:pt x="41" y="13"/>
                      </a:lnTo>
                      <a:lnTo>
                        <a:pt x="55" y="29"/>
                      </a:lnTo>
                      <a:lnTo>
                        <a:pt x="60" y="26"/>
                      </a:lnTo>
                      <a:lnTo>
                        <a:pt x="67" y="24"/>
                      </a:lnTo>
                      <a:lnTo>
                        <a:pt x="67" y="0"/>
                      </a:lnTo>
                      <a:close/>
                    </a:path>
                  </a:pathLst>
                </a:custGeom>
                <a:solidFill>
                  <a:srgbClr val="44464A"/>
                </a:solidFill>
                <a:ln w="0">
                  <a:noFill/>
                  <a:prstDash val="solid"/>
                  <a:round/>
                  <a:headEnd/>
                  <a:tailEnd/>
                </a:ln>
              </p:spPr>
              <p:txBody>
                <a:bodyPr/>
                <a:lstStyle/>
                <a:p>
                  <a:pPr eaLnBrk="1" fontAlgn="auto" hangingPunct="1">
                    <a:spcBef>
                      <a:spcPts val="0"/>
                    </a:spcBef>
                    <a:spcAft>
                      <a:spcPts val="0"/>
                    </a:spcAft>
                    <a:defRPr/>
                  </a:pPr>
                  <a:endParaRPr lang="en-US" dirty="0">
                    <a:latin typeface="+mn-lt"/>
                    <a:cs typeface="+mn-cs"/>
                  </a:endParaRPr>
                </a:p>
              </p:txBody>
            </p:sp>
            <p:sp>
              <p:nvSpPr>
                <p:cNvPr id="57" name="Freeform 215">
                  <a:extLst>
                    <a:ext uri="{FF2B5EF4-FFF2-40B4-BE49-F238E27FC236}">
                      <a16:creationId xmlns:a16="http://schemas.microsoft.com/office/drawing/2014/main" id="{94C1246B-4D57-4602-96DE-7E67D84929F5}"/>
                    </a:ext>
                  </a:extLst>
                </p:cNvPr>
                <p:cNvSpPr>
                  <a:spLocks noEditPoints="1"/>
                </p:cNvSpPr>
                <p:nvPr/>
              </p:nvSpPr>
              <p:spPr bwMode="auto">
                <a:xfrm>
                  <a:off x="1600173" y="3863804"/>
                  <a:ext cx="252412" cy="252440"/>
                </a:xfrm>
                <a:custGeom>
                  <a:avLst/>
                  <a:gdLst>
                    <a:gd name="T0" fmla="*/ 75 w 182"/>
                    <a:gd name="T1" fmla="*/ 54 h 182"/>
                    <a:gd name="T2" fmla="*/ 52 w 182"/>
                    <a:gd name="T3" fmla="*/ 75 h 182"/>
                    <a:gd name="T4" fmla="*/ 52 w 182"/>
                    <a:gd name="T5" fmla="*/ 106 h 182"/>
                    <a:gd name="T6" fmla="*/ 75 w 182"/>
                    <a:gd name="T7" fmla="*/ 128 h 182"/>
                    <a:gd name="T8" fmla="*/ 106 w 182"/>
                    <a:gd name="T9" fmla="*/ 128 h 182"/>
                    <a:gd name="T10" fmla="*/ 128 w 182"/>
                    <a:gd name="T11" fmla="*/ 106 h 182"/>
                    <a:gd name="T12" fmla="*/ 128 w 182"/>
                    <a:gd name="T13" fmla="*/ 75 h 182"/>
                    <a:gd name="T14" fmla="*/ 106 w 182"/>
                    <a:gd name="T15" fmla="*/ 54 h 182"/>
                    <a:gd name="T16" fmla="*/ 71 w 182"/>
                    <a:gd name="T17" fmla="*/ 0 h 182"/>
                    <a:gd name="T18" fmla="*/ 110 w 182"/>
                    <a:gd name="T19" fmla="*/ 26 h 182"/>
                    <a:gd name="T20" fmla="*/ 123 w 182"/>
                    <a:gd name="T21" fmla="*/ 30 h 182"/>
                    <a:gd name="T22" fmla="*/ 140 w 182"/>
                    <a:gd name="T23" fmla="*/ 13 h 182"/>
                    <a:gd name="T24" fmla="*/ 166 w 182"/>
                    <a:gd name="T25" fmla="*/ 38 h 182"/>
                    <a:gd name="T26" fmla="*/ 166 w 182"/>
                    <a:gd name="T27" fmla="*/ 42 h 182"/>
                    <a:gd name="T28" fmla="*/ 153 w 182"/>
                    <a:gd name="T29" fmla="*/ 65 h 182"/>
                    <a:gd name="T30" fmla="*/ 182 w 182"/>
                    <a:gd name="T31" fmla="*/ 72 h 182"/>
                    <a:gd name="T32" fmla="*/ 156 w 182"/>
                    <a:gd name="T33" fmla="*/ 111 h 182"/>
                    <a:gd name="T34" fmla="*/ 151 w 182"/>
                    <a:gd name="T35" fmla="*/ 123 h 182"/>
                    <a:gd name="T36" fmla="*/ 169 w 182"/>
                    <a:gd name="T37" fmla="*/ 141 h 182"/>
                    <a:gd name="T38" fmla="*/ 143 w 182"/>
                    <a:gd name="T39" fmla="*/ 168 h 182"/>
                    <a:gd name="T40" fmla="*/ 139 w 182"/>
                    <a:gd name="T41" fmla="*/ 168 h 182"/>
                    <a:gd name="T42" fmla="*/ 117 w 182"/>
                    <a:gd name="T43" fmla="*/ 153 h 182"/>
                    <a:gd name="T44" fmla="*/ 111 w 182"/>
                    <a:gd name="T45" fmla="*/ 182 h 182"/>
                    <a:gd name="T46" fmla="*/ 72 w 182"/>
                    <a:gd name="T47" fmla="*/ 156 h 182"/>
                    <a:gd name="T48" fmla="*/ 59 w 182"/>
                    <a:gd name="T49" fmla="*/ 152 h 182"/>
                    <a:gd name="T50" fmla="*/ 41 w 182"/>
                    <a:gd name="T51" fmla="*/ 169 h 182"/>
                    <a:gd name="T52" fmla="*/ 16 w 182"/>
                    <a:gd name="T53" fmla="*/ 144 h 182"/>
                    <a:gd name="T54" fmla="*/ 16 w 182"/>
                    <a:gd name="T55" fmla="*/ 139 h 182"/>
                    <a:gd name="T56" fmla="*/ 28 w 182"/>
                    <a:gd name="T57" fmla="*/ 116 h 182"/>
                    <a:gd name="T58" fmla="*/ 0 w 182"/>
                    <a:gd name="T59" fmla="*/ 110 h 182"/>
                    <a:gd name="T60" fmla="*/ 25 w 182"/>
                    <a:gd name="T61" fmla="*/ 71 h 182"/>
                    <a:gd name="T62" fmla="*/ 30 w 182"/>
                    <a:gd name="T63" fmla="*/ 58 h 182"/>
                    <a:gd name="T64" fmla="*/ 13 w 182"/>
                    <a:gd name="T65" fmla="*/ 40 h 182"/>
                    <a:gd name="T66" fmla="*/ 39 w 182"/>
                    <a:gd name="T67" fmla="*/ 14 h 182"/>
                    <a:gd name="T68" fmla="*/ 43 w 182"/>
                    <a:gd name="T69" fmla="*/ 14 h 182"/>
                    <a:gd name="T70" fmla="*/ 64 w 182"/>
                    <a:gd name="T71" fmla="*/ 27 h 182"/>
                    <a:gd name="T72" fmla="*/ 71 w 182"/>
                    <a:gd name="T7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2" h="182">
                      <a:moveTo>
                        <a:pt x="90" y="50"/>
                      </a:moveTo>
                      <a:lnTo>
                        <a:pt x="75" y="54"/>
                      </a:lnTo>
                      <a:lnTo>
                        <a:pt x="62" y="61"/>
                      </a:lnTo>
                      <a:lnTo>
                        <a:pt x="52" y="75"/>
                      </a:lnTo>
                      <a:lnTo>
                        <a:pt x="50" y="90"/>
                      </a:lnTo>
                      <a:lnTo>
                        <a:pt x="52" y="106"/>
                      </a:lnTo>
                      <a:lnTo>
                        <a:pt x="62" y="119"/>
                      </a:lnTo>
                      <a:lnTo>
                        <a:pt x="75" y="128"/>
                      </a:lnTo>
                      <a:lnTo>
                        <a:pt x="90" y="131"/>
                      </a:lnTo>
                      <a:lnTo>
                        <a:pt x="106" y="128"/>
                      </a:lnTo>
                      <a:lnTo>
                        <a:pt x="119" y="119"/>
                      </a:lnTo>
                      <a:lnTo>
                        <a:pt x="128" y="106"/>
                      </a:lnTo>
                      <a:lnTo>
                        <a:pt x="131" y="90"/>
                      </a:lnTo>
                      <a:lnTo>
                        <a:pt x="128" y="75"/>
                      </a:lnTo>
                      <a:lnTo>
                        <a:pt x="119" y="61"/>
                      </a:lnTo>
                      <a:lnTo>
                        <a:pt x="106" y="54"/>
                      </a:lnTo>
                      <a:lnTo>
                        <a:pt x="90" y="50"/>
                      </a:lnTo>
                      <a:close/>
                      <a:moveTo>
                        <a:pt x="71" y="0"/>
                      </a:moveTo>
                      <a:lnTo>
                        <a:pt x="110" y="0"/>
                      </a:lnTo>
                      <a:lnTo>
                        <a:pt x="110" y="26"/>
                      </a:lnTo>
                      <a:lnTo>
                        <a:pt x="117" y="27"/>
                      </a:lnTo>
                      <a:lnTo>
                        <a:pt x="123" y="30"/>
                      </a:lnTo>
                      <a:lnTo>
                        <a:pt x="139" y="14"/>
                      </a:lnTo>
                      <a:lnTo>
                        <a:pt x="140" y="13"/>
                      </a:lnTo>
                      <a:lnTo>
                        <a:pt x="143" y="14"/>
                      </a:lnTo>
                      <a:lnTo>
                        <a:pt x="166" y="38"/>
                      </a:lnTo>
                      <a:lnTo>
                        <a:pt x="169" y="40"/>
                      </a:lnTo>
                      <a:lnTo>
                        <a:pt x="166" y="42"/>
                      </a:lnTo>
                      <a:lnTo>
                        <a:pt x="151" y="59"/>
                      </a:lnTo>
                      <a:lnTo>
                        <a:pt x="153" y="65"/>
                      </a:lnTo>
                      <a:lnTo>
                        <a:pt x="156" y="72"/>
                      </a:lnTo>
                      <a:lnTo>
                        <a:pt x="182" y="72"/>
                      </a:lnTo>
                      <a:lnTo>
                        <a:pt x="182" y="111"/>
                      </a:lnTo>
                      <a:lnTo>
                        <a:pt x="156" y="111"/>
                      </a:lnTo>
                      <a:lnTo>
                        <a:pt x="153" y="118"/>
                      </a:lnTo>
                      <a:lnTo>
                        <a:pt x="151" y="123"/>
                      </a:lnTo>
                      <a:lnTo>
                        <a:pt x="166" y="139"/>
                      </a:lnTo>
                      <a:lnTo>
                        <a:pt x="169" y="141"/>
                      </a:lnTo>
                      <a:lnTo>
                        <a:pt x="166" y="144"/>
                      </a:lnTo>
                      <a:lnTo>
                        <a:pt x="143" y="168"/>
                      </a:lnTo>
                      <a:lnTo>
                        <a:pt x="140" y="169"/>
                      </a:lnTo>
                      <a:lnTo>
                        <a:pt x="139" y="168"/>
                      </a:lnTo>
                      <a:lnTo>
                        <a:pt x="123" y="150"/>
                      </a:lnTo>
                      <a:lnTo>
                        <a:pt x="117" y="153"/>
                      </a:lnTo>
                      <a:lnTo>
                        <a:pt x="111" y="156"/>
                      </a:lnTo>
                      <a:lnTo>
                        <a:pt x="111" y="182"/>
                      </a:lnTo>
                      <a:lnTo>
                        <a:pt x="72" y="182"/>
                      </a:lnTo>
                      <a:lnTo>
                        <a:pt x="72" y="156"/>
                      </a:lnTo>
                      <a:lnTo>
                        <a:pt x="66" y="154"/>
                      </a:lnTo>
                      <a:lnTo>
                        <a:pt x="59" y="152"/>
                      </a:lnTo>
                      <a:lnTo>
                        <a:pt x="43" y="168"/>
                      </a:lnTo>
                      <a:lnTo>
                        <a:pt x="41" y="169"/>
                      </a:lnTo>
                      <a:lnTo>
                        <a:pt x="39" y="168"/>
                      </a:lnTo>
                      <a:lnTo>
                        <a:pt x="16" y="144"/>
                      </a:lnTo>
                      <a:lnTo>
                        <a:pt x="13" y="141"/>
                      </a:lnTo>
                      <a:lnTo>
                        <a:pt x="16" y="139"/>
                      </a:lnTo>
                      <a:lnTo>
                        <a:pt x="30" y="124"/>
                      </a:lnTo>
                      <a:lnTo>
                        <a:pt x="28" y="116"/>
                      </a:lnTo>
                      <a:lnTo>
                        <a:pt x="25" y="110"/>
                      </a:lnTo>
                      <a:lnTo>
                        <a:pt x="0" y="110"/>
                      </a:lnTo>
                      <a:lnTo>
                        <a:pt x="0" y="71"/>
                      </a:lnTo>
                      <a:lnTo>
                        <a:pt x="25" y="71"/>
                      </a:lnTo>
                      <a:lnTo>
                        <a:pt x="28" y="64"/>
                      </a:lnTo>
                      <a:lnTo>
                        <a:pt x="30" y="58"/>
                      </a:lnTo>
                      <a:lnTo>
                        <a:pt x="16" y="42"/>
                      </a:lnTo>
                      <a:lnTo>
                        <a:pt x="13" y="40"/>
                      </a:lnTo>
                      <a:lnTo>
                        <a:pt x="16" y="38"/>
                      </a:lnTo>
                      <a:lnTo>
                        <a:pt x="39" y="14"/>
                      </a:lnTo>
                      <a:lnTo>
                        <a:pt x="41" y="13"/>
                      </a:lnTo>
                      <a:lnTo>
                        <a:pt x="43" y="14"/>
                      </a:lnTo>
                      <a:lnTo>
                        <a:pt x="59" y="30"/>
                      </a:lnTo>
                      <a:lnTo>
                        <a:pt x="64" y="27"/>
                      </a:lnTo>
                      <a:lnTo>
                        <a:pt x="71" y="26"/>
                      </a:lnTo>
                      <a:lnTo>
                        <a:pt x="71" y="0"/>
                      </a:lnTo>
                      <a:close/>
                    </a:path>
                  </a:pathLst>
                </a:custGeom>
                <a:solidFill>
                  <a:srgbClr val="9F3D34"/>
                </a:solidFill>
                <a:ln w="0">
                  <a:noFill/>
                  <a:prstDash val="solid"/>
                  <a:round/>
                  <a:headEnd/>
                  <a:tailEnd/>
                </a:ln>
              </p:spPr>
              <p:txBody>
                <a:bodyPr/>
                <a:lstStyle/>
                <a:p>
                  <a:pPr eaLnBrk="1" fontAlgn="auto" hangingPunct="1">
                    <a:spcBef>
                      <a:spcPts val="0"/>
                    </a:spcBef>
                    <a:spcAft>
                      <a:spcPts val="0"/>
                    </a:spcAft>
                    <a:defRPr/>
                  </a:pPr>
                  <a:endParaRPr lang="en-US" dirty="0">
                    <a:latin typeface="+mn-lt"/>
                    <a:cs typeface="+mn-cs"/>
                  </a:endParaRPr>
                </a:p>
              </p:txBody>
            </p:sp>
            <p:sp>
              <p:nvSpPr>
                <p:cNvPr id="58" name="Freeform 216">
                  <a:extLst>
                    <a:ext uri="{FF2B5EF4-FFF2-40B4-BE49-F238E27FC236}">
                      <a16:creationId xmlns:a16="http://schemas.microsoft.com/office/drawing/2014/main" id="{F7790AEF-06AE-418A-B284-B05BA62A2504}"/>
                    </a:ext>
                  </a:extLst>
                </p:cNvPr>
                <p:cNvSpPr>
                  <a:spLocks noEditPoints="1"/>
                </p:cNvSpPr>
                <p:nvPr/>
              </p:nvSpPr>
              <p:spPr bwMode="auto">
                <a:xfrm>
                  <a:off x="3063848" y="2607956"/>
                  <a:ext cx="341312" cy="342937"/>
                </a:xfrm>
                <a:custGeom>
                  <a:avLst/>
                  <a:gdLst>
                    <a:gd name="T0" fmla="*/ 108 w 246"/>
                    <a:gd name="T1" fmla="*/ 71 h 247"/>
                    <a:gd name="T2" fmla="*/ 80 w 246"/>
                    <a:gd name="T3" fmla="*/ 88 h 247"/>
                    <a:gd name="T4" fmla="*/ 68 w 246"/>
                    <a:gd name="T5" fmla="*/ 121 h 247"/>
                    <a:gd name="T6" fmla="*/ 76 w 246"/>
                    <a:gd name="T7" fmla="*/ 154 h 247"/>
                    <a:gd name="T8" fmla="*/ 102 w 246"/>
                    <a:gd name="T9" fmla="*/ 175 h 247"/>
                    <a:gd name="T10" fmla="*/ 136 w 246"/>
                    <a:gd name="T11" fmla="*/ 176 h 247"/>
                    <a:gd name="T12" fmla="*/ 164 w 246"/>
                    <a:gd name="T13" fmla="*/ 159 h 247"/>
                    <a:gd name="T14" fmla="*/ 177 w 246"/>
                    <a:gd name="T15" fmla="*/ 127 h 247"/>
                    <a:gd name="T16" fmla="*/ 168 w 246"/>
                    <a:gd name="T17" fmla="*/ 95 h 247"/>
                    <a:gd name="T18" fmla="*/ 143 w 246"/>
                    <a:gd name="T19" fmla="*/ 72 h 247"/>
                    <a:gd name="T20" fmla="*/ 104 w 246"/>
                    <a:gd name="T21" fmla="*/ 0 h 247"/>
                    <a:gd name="T22" fmla="*/ 152 w 246"/>
                    <a:gd name="T23" fmla="*/ 3 h 247"/>
                    <a:gd name="T24" fmla="*/ 156 w 246"/>
                    <a:gd name="T25" fmla="*/ 8 h 247"/>
                    <a:gd name="T26" fmla="*/ 163 w 246"/>
                    <a:gd name="T27" fmla="*/ 41 h 247"/>
                    <a:gd name="T28" fmla="*/ 193 w 246"/>
                    <a:gd name="T29" fmla="*/ 25 h 247"/>
                    <a:gd name="T30" fmla="*/ 198 w 246"/>
                    <a:gd name="T31" fmla="*/ 25 h 247"/>
                    <a:gd name="T32" fmla="*/ 231 w 246"/>
                    <a:gd name="T33" fmla="*/ 62 h 247"/>
                    <a:gd name="T34" fmla="*/ 206 w 246"/>
                    <a:gd name="T35" fmla="*/ 85 h 247"/>
                    <a:gd name="T36" fmla="*/ 211 w 246"/>
                    <a:gd name="T37" fmla="*/ 102 h 247"/>
                    <a:gd name="T38" fmla="*/ 246 w 246"/>
                    <a:gd name="T39" fmla="*/ 105 h 247"/>
                    <a:gd name="T40" fmla="*/ 243 w 246"/>
                    <a:gd name="T41" fmla="*/ 154 h 247"/>
                    <a:gd name="T42" fmla="*/ 239 w 246"/>
                    <a:gd name="T43" fmla="*/ 157 h 247"/>
                    <a:gd name="T44" fmla="*/ 205 w 246"/>
                    <a:gd name="T45" fmla="*/ 164 h 247"/>
                    <a:gd name="T46" fmla="*/ 220 w 246"/>
                    <a:gd name="T47" fmla="*/ 194 h 247"/>
                    <a:gd name="T48" fmla="*/ 220 w 246"/>
                    <a:gd name="T49" fmla="*/ 199 h 247"/>
                    <a:gd name="T50" fmla="*/ 184 w 246"/>
                    <a:gd name="T51" fmla="*/ 232 h 247"/>
                    <a:gd name="T52" fmla="*/ 160 w 246"/>
                    <a:gd name="T53" fmla="*/ 207 h 247"/>
                    <a:gd name="T54" fmla="*/ 144 w 246"/>
                    <a:gd name="T55" fmla="*/ 212 h 247"/>
                    <a:gd name="T56" fmla="*/ 143 w 246"/>
                    <a:gd name="T57" fmla="*/ 247 h 247"/>
                    <a:gd name="T58" fmla="*/ 95 w 246"/>
                    <a:gd name="T59" fmla="*/ 244 h 247"/>
                    <a:gd name="T60" fmla="*/ 91 w 246"/>
                    <a:gd name="T61" fmla="*/ 240 h 247"/>
                    <a:gd name="T62" fmla="*/ 84 w 246"/>
                    <a:gd name="T63" fmla="*/ 206 h 247"/>
                    <a:gd name="T64" fmla="*/ 53 w 246"/>
                    <a:gd name="T65" fmla="*/ 222 h 247"/>
                    <a:gd name="T66" fmla="*/ 47 w 246"/>
                    <a:gd name="T67" fmla="*/ 222 h 247"/>
                    <a:gd name="T68" fmla="*/ 15 w 246"/>
                    <a:gd name="T69" fmla="*/ 185 h 247"/>
                    <a:gd name="T70" fmla="*/ 40 w 246"/>
                    <a:gd name="T71" fmla="*/ 163 h 247"/>
                    <a:gd name="T72" fmla="*/ 33 w 246"/>
                    <a:gd name="T73" fmla="*/ 144 h 247"/>
                    <a:gd name="T74" fmla="*/ 0 w 246"/>
                    <a:gd name="T75" fmla="*/ 142 h 247"/>
                    <a:gd name="T76" fmla="*/ 3 w 246"/>
                    <a:gd name="T77" fmla="*/ 93 h 247"/>
                    <a:gd name="T78" fmla="*/ 7 w 246"/>
                    <a:gd name="T79" fmla="*/ 89 h 247"/>
                    <a:gd name="T80" fmla="*/ 41 w 246"/>
                    <a:gd name="T81" fmla="*/ 83 h 247"/>
                    <a:gd name="T82" fmla="*/ 25 w 246"/>
                    <a:gd name="T83" fmla="*/ 53 h 247"/>
                    <a:gd name="T84" fmla="*/ 26 w 246"/>
                    <a:gd name="T85" fmla="*/ 47 h 247"/>
                    <a:gd name="T86" fmla="*/ 62 w 246"/>
                    <a:gd name="T87" fmla="*/ 15 h 247"/>
                    <a:gd name="T88" fmla="*/ 85 w 246"/>
                    <a:gd name="T89" fmla="*/ 40 h 247"/>
                    <a:gd name="T90" fmla="*/ 101 w 246"/>
                    <a:gd name="T91" fmla="*/ 34 h 247"/>
                    <a:gd name="T92" fmla="*/ 104 w 246"/>
                    <a:gd name="T93"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47">
                      <a:moveTo>
                        <a:pt x="126" y="68"/>
                      </a:moveTo>
                      <a:lnTo>
                        <a:pt x="108" y="71"/>
                      </a:lnTo>
                      <a:lnTo>
                        <a:pt x="93" y="78"/>
                      </a:lnTo>
                      <a:lnTo>
                        <a:pt x="80" y="88"/>
                      </a:lnTo>
                      <a:lnTo>
                        <a:pt x="72" y="104"/>
                      </a:lnTo>
                      <a:lnTo>
                        <a:pt x="68" y="121"/>
                      </a:lnTo>
                      <a:lnTo>
                        <a:pt x="70" y="138"/>
                      </a:lnTo>
                      <a:lnTo>
                        <a:pt x="76" y="154"/>
                      </a:lnTo>
                      <a:lnTo>
                        <a:pt x="88" y="165"/>
                      </a:lnTo>
                      <a:lnTo>
                        <a:pt x="102" y="175"/>
                      </a:lnTo>
                      <a:lnTo>
                        <a:pt x="119" y="178"/>
                      </a:lnTo>
                      <a:lnTo>
                        <a:pt x="136" y="176"/>
                      </a:lnTo>
                      <a:lnTo>
                        <a:pt x="152" y="169"/>
                      </a:lnTo>
                      <a:lnTo>
                        <a:pt x="164" y="159"/>
                      </a:lnTo>
                      <a:lnTo>
                        <a:pt x="173" y="144"/>
                      </a:lnTo>
                      <a:lnTo>
                        <a:pt x="177" y="127"/>
                      </a:lnTo>
                      <a:lnTo>
                        <a:pt x="176" y="109"/>
                      </a:lnTo>
                      <a:lnTo>
                        <a:pt x="168" y="95"/>
                      </a:lnTo>
                      <a:lnTo>
                        <a:pt x="157" y="82"/>
                      </a:lnTo>
                      <a:lnTo>
                        <a:pt x="143" y="72"/>
                      </a:lnTo>
                      <a:lnTo>
                        <a:pt x="126" y="68"/>
                      </a:lnTo>
                      <a:close/>
                      <a:moveTo>
                        <a:pt x="104" y="0"/>
                      </a:moveTo>
                      <a:lnTo>
                        <a:pt x="108" y="0"/>
                      </a:lnTo>
                      <a:lnTo>
                        <a:pt x="152" y="3"/>
                      </a:lnTo>
                      <a:lnTo>
                        <a:pt x="156" y="4"/>
                      </a:lnTo>
                      <a:lnTo>
                        <a:pt x="156" y="8"/>
                      </a:lnTo>
                      <a:lnTo>
                        <a:pt x="153" y="37"/>
                      </a:lnTo>
                      <a:lnTo>
                        <a:pt x="163" y="41"/>
                      </a:lnTo>
                      <a:lnTo>
                        <a:pt x="170" y="46"/>
                      </a:lnTo>
                      <a:lnTo>
                        <a:pt x="193" y="25"/>
                      </a:lnTo>
                      <a:lnTo>
                        <a:pt x="197" y="23"/>
                      </a:lnTo>
                      <a:lnTo>
                        <a:pt x="198" y="25"/>
                      </a:lnTo>
                      <a:lnTo>
                        <a:pt x="228" y="59"/>
                      </a:lnTo>
                      <a:lnTo>
                        <a:pt x="231" y="62"/>
                      </a:lnTo>
                      <a:lnTo>
                        <a:pt x="228" y="65"/>
                      </a:lnTo>
                      <a:lnTo>
                        <a:pt x="206" y="85"/>
                      </a:lnTo>
                      <a:lnTo>
                        <a:pt x="208" y="93"/>
                      </a:lnTo>
                      <a:lnTo>
                        <a:pt x="211" y="102"/>
                      </a:lnTo>
                      <a:lnTo>
                        <a:pt x="243" y="105"/>
                      </a:lnTo>
                      <a:lnTo>
                        <a:pt x="246" y="105"/>
                      </a:lnTo>
                      <a:lnTo>
                        <a:pt x="245" y="109"/>
                      </a:lnTo>
                      <a:lnTo>
                        <a:pt x="243" y="154"/>
                      </a:lnTo>
                      <a:lnTo>
                        <a:pt x="243" y="157"/>
                      </a:lnTo>
                      <a:lnTo>
                        <a:pt x="239" y="157"/>
                      </a:lnTo>
                      <a:lnTo>
                        <a:pt x="208" y="156"/>
                      </a:lnTo>
                      <a:lnTo>
                        <a:pt x="205" y="164"/>
                      </a:lnTo>
                      <a:lnTo>
                        <a:pt x="201" y="172"/>
                      </a:lnTo>
                      <a:lnTo>
                        <a:pt x="220" y="194"/>
                      </a:lnTo>
                      <a:lnTo>
                        <a:pt x="223" y="198"/>
                      </a:lnTo>
                      <a:lnTo>
                        <a:pt x="220" y="199"/>
                      </a:lnTo>
                      <a:lnTo>
                        <a:pt x="186" y="230"/>
                      </a:lnTo>
                      <a:lnTo>
                        <a:pt x="184" y="232"/>
                      </a:lnTo>
                      <a:lnTo>
                        <a:pt x="181" y="230"/>
                      </a:lnTo>
                      <a:lnTo>
                        <a:pt x="160" y="207"/>
                      </a:lnTo>
                      <a:lnTo>
                        <a:pt x="152" y="210"/>
                      </a:lnTo>
                      <a:lnTo>
                        <a:pt x="144" y="212"/>
                      </a:lnTo>
                      <a:lnTo>
                        <a:pt x="143" y="243"/>
                      </a:lnTo>
                      <a:lnTo>
                        <a:pt x="143" y="247"/>
                      </a:lnTo>
                      <a:lnTo>
                        <a:pt x="139" y="247"/>
                      </a:lnTo>
                      <a:lnTo>
                        <a:pt x="95" y="244"/>
                      </a:lnTo>
                      <a:lnTo>
                        <a:pt x="91" y="244"/>
                      </a:lnTo>
                      <a:lnTo>
                        <a:pt x="91" y="240"/>
                      </a:lnTo>
                      <a:lnTo>
                        <a:pt x="92" y="210"/>
                      </a:lnTo>
                      <a:lnTo>
                        <a:pt x="84" y="206"/>
                      </a:lnTo>
                      <a:lnTo>
                        <a:pt x="75" y="202"/>
                      </a:lnTo>
                      <a:lnTo>
                        <a:pt x="53" y="222"/>
                      </a:lnTo>
                      <a:lnTo>
                        <a:pt x="50" y="224"/>
                      </a:lnTo>
                      <a:lnTo>
                        <a:pt x="47" y="222"/>
                      </a:lnTo>
                      <a:lnTo>
                        <a:pt x="17" y="188"/>
                      </a:lnTo>
                      <a:lnTo>
                        <a:pt x="15" y="185"/>
                      </a:lnTo>
                      <a:lnTo>
                        <a:pt x="17" y="182"/>
                      </a:lnTo>
                      <a:lnTo>
                        <a:pt x="40" y="163"/>
                      </a:lnTo>
                      <a:lnTo>
                        <a:pt x="36" y="154"/>
                      </a:lnTo>
                      <a:lnTo>
                        <a:pt x="33" y="144"/>
                      </a:lnTo>
                      <a:lnTo>
                        <a:pt x="4" y="142"/>
                      </a:lnTo>
                      <a:lnTo>
                        <a:pt x="0" y="142"/>
                      </a:lnTo>
                      <a:lnTo>
                        <a:pt x="0" y="138"/>
                      </a:lnTo>
                      <a:lnTo>
                        <a:pt x="3" y="93"/>
                      </a:lnTo>
                      <a:lnTo>
                        <a:pt x="3" y="89"/>
                      </a:lnTo>
                      <a:lnTo>
                        <a:pt x="7" y="89"/>
                      </a:lnTo>
                      <a:lnTo>
                        <a:pt x="37" y="92"/>
                      </a:lnTo>
                      <a:lnTo>
                        <a:pt x="41" y="83"/>
                      </a:lnTo>
                      <a:lnTo>
                        <a:pt x="45" y="75"/>
                      </a:lnTo>
                      <a:lnTo>
                        <a:pt x="25" y="53"/>
                      </a:lnTo>
                      <a:lnTo>
                        <a:pt x="22" y="50"/>
                      </a:lnTo>
                      <a:lnTo>
                        <a:pt x="26" y="47"/>
                      </a:lnTo>
                      <a:lnTo>
                        <a:pt x="59" y="17"/>
                      </a:lnTo>
                      <a:lnTo>
                        <a:pt x="62" y="15"/>
                      </a:lnTo>
                      <a:lnTo>
                        <a:pt x="64" y="17"/>
                      </a:lnTo>
                      <a:lnTo>
                        <a:pt x="85" y="40"/>
                      </a:lnTo>
                      <a:lnTo>
                        <a:pt x="93" y="37"/>
                      </a:lnTo>
                      <a:lnTo>
                        <a:pt x="101" y="34"/>
                      </a:lnTo>
                      <a:lnTo>
                        <a:pt x="104" y="4"/>
                      </a:lnTo>
                      <a:lnTo>
                        <a:pt x="104" y="0"/>
                      </a:lnTo>
                      <a:close/>
                    </a:path>
                  </a:pathLst>
                </a:custGeom>
                <a:solidFill>
                  <a:srgbClr val="44464A"/>
                </a:solidFill>
                <a:ln w="0">
                  <a:noFill/>
                  <a:prstDash val="solid"/>
                  <a:round/>
                  <a:headEnd/>
                  <a:tailEnd/>
                </a:ln>
              </p:spPr>
              <p:txBody>
                <a:bodyPr/>
                <a:lstStyle/>
                <a:p>
                  <a:pPr eaLnBrk="1" fontAlgn="auto" hangingPunct="1">
                    <a:spcBef>
                      <a:spcPts val="0"/>
                    </a:spcBef>
                    <a:spcAft>
                      <a:spcPts val="0"/>
                    </a:spcAft>
                    <a:defRPr/>
                  </a:pPr>
                  <a:endParaRPr lang="en-US" dirty="0">
                    <a:latin typeface="+mn-lt"/>
                    <a:cs typeface="+mn-cs"/>
                  </a:endParaRPr>
                </a:p>
              </p:txBody>
            </p:sp>
            <p:sp>
              <p:nvSpPr>
                <p:cNvPr id="59" name="Freeform 219">
                  <a:extLst>
                    <a:ext uri="{FF2B5EF4-FFF2-40B4-BE49-F238E27FC236}">
                      <a16:creationId xmlns:a16="http://schemas.microsoft.com/office/drawing/2014/main" id="{0046F60F-8178-4636-959C-2BBACA284D0B}"/>
                    </a:ext>
                  </a:extLst>
                </p:cNvPr>
                <p:cNvSpPr>
                  <a:spLocks noEditPoints="1"/>
                </p:cNvSpPr>
                <p:nvPr/>
              </p:nvSpPr>
              <p:spPr bwMode="auto">
                <a:xfrm>
                  <a:off x="2686625" y="1623894"/>
                  <a:ext cx="972535" cy="971245"/>
                </a:xfrm>
                <a:custGeom>
                  <a:avLst/>
                  <a:gdLst>
                    <a:gd name="T0" fmla="*/ 2147483646 w 700"/>
                    <a:gd name="T1" fmla="*/ 2147483646 h 699"/>
                    <a:gd name="T2" fmla="*/ 2147483646 w 700"/>
                    <a:gd name="T3" fmla="*/ 2147483646 h 699"/>
                    <a:gd name="T4" fmla="*/ 2147483646 w 700"/>
                    <a:gd name="T5" fmla="*/ 2147483646 h 699"/>
                    <a:gd name="T6" fmla="*/ 2147483646 w 700"/>
                    <a:gd name="T7" fmla="*/ 2147483646 h 699"/>
                    <a:gd name="T8" fmla="*/ 2147483646 w 700"/>
                    <a:gd name="T9" fmla="*/ 2147483646 h 699"/>
                    <a:gd name="T10" fmla="*/ 2147483646 w 700"/>
                    <a:gd name="T11" fmla="*/ 2147483646 h 699"/>
                    <a:gd name="T12" fmla="*/ 2147483646 w 700"/>
                    <a:gd name="T13" fmla="*/ 2147483646 h 699"/>
                    <a:gd name="T14" fmla="*/ 2147483646 w 700"/>
                    <a:gd name="T15" fmla="*/ 2147483646 h 699"/>
                    <a:gd name="T16" fmla="*/ 2147483646 w 700"/>
                    <a:gd name="T17" fmla="*/ 2147483646 h 699"/>
                    <a:gd name="T18" fmla="*/ 2147483646 w 700"/>
                    <a:gd name="T19" fmla="*/ 2147483646 h 699"/>
                    <a:gd name="T20" fmla="*/ 2147483646 w 700"/>
                    <a:gd name="T21" fmla="*/ 2147483646 h 699"/>
                    <a:gd name="T22" fmla="*/ 2147483646 w 700"/>
                    <a:gd name="T23" fmla="*/ 2147483646 h 699"/>
                    <a:gd name="T24" fmla="*/ 2147483646 w 700"/>
                    <a:gd name="T25" fmla="*/ 2147483646 h 699"/>
                    <a:gd name="T26" fmla="*/ 2147483646 w 700"/>
                    <a:gd name="T27" fmla="*/ 2147483646 h 699"/>
                    <a:gd name="T28" fmla="*/ 2147483646 w 700"/>
                    <a:gd name="T29" fmla="*/ 2147483646 h 699"/>
                    <a:gd name="T30" fmla="*/ 2147483646 w 700"/>
                    <a:gd name="T31" fmla="*/ 2147483646 h 699"/>
                    <a:gd name="T32" fmla="*/ 2147483646 w 700"/>
                    <a:gd name="T33" fmla="*/ 0 h 699"/>
                    <a:gd name="T34" fmla="*/ 2147483646 w 700"/>
                    <a:gd name="T35" fmla="*/ 2147483646 h 699"/>
                    <a:gd name="T36" fmla="*/ 2147483646 w 700"/>
                    <a:gd name="T37" fmla="*/ 2147483646 h 699"/>
                    <a:gd name="T38" fmla="*/ 2147483646 w 700"/>
                    <a:gd name="T39" fmla="*/ 2147483646 h 699"/>
                    <a:gd name="T40" fmla="*/ 2147483646 w 700"/>
                    <a:gd name="T41" fmla="*/ 2147483646 h 699"/>
                    <a:gd name="T42" fmla="*/ 2147483646 w 700"/>
                    <a:gd name="T43" fmla="*/ 2147483646 h 699"/>
                    <a:gd name="T44" fmla="*/ 2147483646 w 700"/>
                    <a:gd name="T45" fmla="*/ 2147483646 h 699"/>
                    <a:gd name="T46" fmla="*/ 2147483646 w 700"/>
                    <a:gd name="T47" fmla="*/ 2147483646 h 699"/>
                    <a:gd name="T48" fmla="*/ 2147483646 w 700"/>
                    <a:gd name="T49" fmla="*/ 2147483646 h 699"/>
                    <a:gd name="T50" fmla="*/ 2147483646 w 700"/>
                    <a:gd name="T51" fmla="*/ 2147483646 h 699"/>
                    <a:gd name="T52" fmla="*/ 2147483646 w 700"/>
                    <a:gd name="T53" fmla="*/ 2147483646 h 699"/>
                    <a:gd name="T54" fmla="*/ 2147483646 w 700"/>
                    <a:gd name="T55" fmla="*/ 2147483646 h 699"/>
                    <a:gd name="T56" fmla="*/ 2147483646 w 700"/>
                    <a:gd name="T57" fmla="*/ 2147483646 h 699"/>
                    <a:gd name="T58" fmla="*/ 2147483646 w 700"/>
                    <a:gd name="T59" fmla="*/ 2147483646 h 699"/>
                    <a:gd name="T60" fmla="*/ 2147483646 w 700"/>
                    <a:gd name="T61" fmla="*/ 2147483646 h 699"/>
                    <a:gd name="T62" fmla="*/ 2147483646 w 700"/>
                    <a:gd name="T63" fmla="*/ 2147483646 h 699"/>
                    <a:gd name="T64" fmla="*/ 2147483646 w 700"/>
                    <a:gd name="T65" fmla="*/ 2147483646 h 699"/>
                    <a:gd name="T66" fmla="*/ 2147483646 w 700"/>
                    <a:gd name="T67" fmla="*/ 2147483646 h 699"/>
                    <a:gd name="T68" fmla="*/ 2147483646 w 700"/>
                    <a:gd name="T69" fmla="*/ 2147483646 h 699"/>
                    <a:gd name="T70" fmla="*/ 2147483646 w 700"/>
                    <a:gd name="T71" fmla="*/ 2147483646 h 699"/>
                    <a:gd name="T72" fmla="*/ 2147483646 w 700"/>
                    <a:gd name="T73" fmla="*/ 2147483646 h 699"/>
                    <a:gd name="T74" fmla="*/ 2147483646 w 700"/>
                    <a:gd name="T75" fmla="*/ 2147483646 h 699"/>
                    <a:gd name="T76" fmla="*/ 2147483646 w 700"/>
                    <a:gd name="T77" fmla="*/ 2147483646 h 699"/>
                    <a:gd name="T78" fmla="*/ 2147483646 w 700"/>
                    <a:gd name="T79" fmla="*/ 2147483646 h 699"/>
                    <a:gd name="T80" fmla="*/ 2147483646 w 700"/>
                    <a:gd name="T81" fmla="*/ 2147483646 h 699"/>
                    <a:gd name="T82" fmla="*/ 2147483646 w 700"/>
                    <a:gd name="T83" fmla="*/ 2147483646 h 699"/>
                    <a:gd name="T84" fmla="*/ 2147483646 w 700"/>
                    <a:gd name="T85" fmla="*/ 2147483646 h 699"/>
                    <a:gd name="T86" fmla="*/ 2147483646 w 700"/>
                    <a:gd name="T87" fmla="*/ 2147483646 h 699"/>
                    <a:gd name="T88" fmla="*/ 2147483646 w 700"/>
                    <a:gd name="T89" fmla="*/ 2147483646 h 699"/>
                    <a:gd name="T90" fmla="*/ 2147483646 w 700"/>
                    <a:gd name="T91" fmla="*/ 2147483646 h 699"/>
                    <a:gd name="T92" fmla="*/ 2147483646 w 700"/>
                    <a:gd name="T93" fmla="*/ 0 h 69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00"/>
                    <a:gd name="T142" fmla="*/ 0 h 699"/>
                    <a:gd name="T143" fmla="*/ 700 w 700"/>
                    <a:gd name="T144" fmla="*/ 699 h 69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00" h="699">
                      <a:moveTo>
                        <a:pt x="339" y="154"/>
                      </a:moveTo>
                      <a:lnTo>
                        <a:pt x="300" y="161"/>
                      </a:lnTo>
                      <a:lnTo>
                        <a:pt x="263" y="174"/>
                      </a:lnTo>
                      <a:lnTo>
                        <a:pt x="232" y="194"/>
                      </a:lnTo>
                      <a:lnTo>
                        <a:pt x="204" y="220"/>
                      </a:lnTo>
                      <a:lnTo>
                        <a:pt x="182" y="250"/>
                      </a:lnTo>
                      <a:lnTo>
                        <a:pt x="165" y="284"/>
                      </a:lnTo>
                      <a:lnTo>
                        <a:pt x="156" y="321"/>
                      </a:lnTo>
                      <a:lnTo>
                        <a:pt x="155" y="360"/>
                      </a:lnTo>
                      <a:lnTo>
                        <a:pt x="161" y="399"/>
                      </a:lnTo>
                      <a:lnTo>
                        <a:pt x="174" y="436"/>
                      </a:lnTo>
                      <a:lnTo>
                        <a:pt x="194" y="467"/>
                      </a:lnTo>
                      <a:lnTo>
                        <a:pt x="220" y="495"/>
                      </a:lnTo>
                      <a:lnTo>
                        <a:pt x="250" y="517"/>
                      </a:lnTo>
                      <a:lnTo>
                        <a:pt x="284" y="534"/>
                      </a:lnTo>
                      <a:lnTo>
                        <a:pt x="321" y="543"/>
                      </a:lnTo>
                      <a:lnTo>
                        <a:pt x="360" y="545"/>
                      </a:lnTo>
                      <a:lnTo>
                        <a:pt x="400" y="538"/>
                      </a:lnTo>
                      <a:lnTo>
                        <a:pt x="436" y="525"/>
                      </a:lnTo>
                      <a:lnTo>
                        <a:pt x="468" y="505"/>
                      </a:lnTo>
                      <a:lnTo>
                        <a:pt x="495" y="479"/>
                      </a:lnTo>
                      <a:lnTo>
                        <a:pt x="517" y="449"/>
                      </a:lnTo>
                      <a:lnTo>
                        <a:pt x="534" y="415"/>
                      </a:lnTo>
                      <a:lnTo>
                        <a:pt x="544" y="378"/>
                      </a:lnTo>
                      <a:lnTo>
                        <a:pt x="545" y="339"/>
                      </a:lnTo>
                      <a:lnTo>
                        <a:pt x="538" y="300"/>
                      </a:lnTo>
                      <a:lnTo>
                        <a:pt x="525" y="263"/>
                      </a:lnTo>
                      <a:lnTo>
                        <a:pt x="506" y="232"/>
                      </a:lnTo>
                      <a:lnTo>
                        <a:pt x="479" y="204"/>
                      </a:lnTo>
                      <a:lnTo>
                        <a:pt x="449" y="182"/>
                      </a:lnTo>
                      <a:lnTo>
                        <a:pt x="415" y="165"/>
                      </a:lnTo>
                      <a:lnTo>
                        <a:pt x="379" y="156"/>
                      </a:lnTo>
                      <a:lnTo>
                        <a:pt x="339" y="154"/>
                      </a:lnTo>
                      <a:close/>
                      <a:moveTo>
                        <a:pt x="373" y="0"/>
                      </a:moveTo>
                      <a:lnTo>
                        <a:pt x="377" y="69"/>
                      </a:lnTo>
                      <a:lnTo>
                        <a:pt x="407" y="73"/>
                      </a:lnTo>
                      <a:lnTo>
                        <a:pt x="436" y="81"/>
                      </a:lnTo>
                      <a:lnTo>
                        <a:pt x="468" y="20"/>
                      </a:lnTo>
                      <a:lnTo>
                        <a:pt x="545" y="59"/>
                      </a:lnTo>
                      <a:lnTo>
                        <a:pt x="514" y="120"/>
                      </a:lnTo>
                      <a:lnTo>
                        <a:pt x="537" y="139"/>
                      </a:lnTo>
                      <a:lnTo>
                        <a:pt x="559" y="161"/>
                      </a:lnTo>
                      <a:lnTo>
                        <a:pt x="617" y="123"/>
                      </a:lnTo>
                      <a:lnTo>
                        <a:pt x="664" y="195"/>
                      </a:lnTo>
                      <a:lnTo>
                        <a:pt x="607" y="233"/>
                      </a:lnTo>
                      <a:lnTo>
                        <a:pt x="617" y="261"/>
                      </a:lnTo>
                      <a:lnTo>
                        <a:pt x="626" y="291"/>
                      </a:lnTo>
                      <a:lnTo>
                        <a:pt x="694" y="287"/>
                      </a:lnTo>
                      <a:lnTo>
                        <a:pt x="700" y="373"/>
                      </a:lnTo>
                      <a:lnTo>
                        <a:pt x="630" y="377"/>
                      </a:lnTo>
                      <a:lnTo>
                        <a:pt x="626" y="407"/>
                      </a:lnTo>
                      <a:lnTo>
                        <a:pt x="618" y="436"/>
                      </a:lnTo>
                      <a:lnTo>
                        <a:pt x="680" y="467"/>
                      </a:lnTo>
                      <a:lnTo>
                        <a:pt x="641" y="545"/>
                      </a:lnTo>
                      <a:lnTo>
                        <a:pt x="579" y="513"/>
                      </a:lnTo>
                      <a:lnTo>
                        <a:pt x="561" y="537"/>
                      </a:lnTo>
                      <a:lnTo>
                        <a:pt x="538" y="559"/>
                      </a:lnTo>
                      <a:lnTo>
                        <a:pt x="576" y="617"/>
                      </a:lnTo>
                      <a:lnTo>
                        <a:pt x="504" y="664"/>
                      </a:lnTo>
                      <a:lnTo>
                        <a:pt x="466" y="606"/>
                      </a:lnTo>
                      <a:lnTo>
                        <a:pt x="439" y="617"/>
                      </a:lnTo>
                      <a:lnTo>
                        <a:pt x="409" y="626"/>
                      </a:lnTo>
                      <a:lnTo>
                        <a:pt x="413" y="694"/>
                      </a:lnTo>
                      <a:lnTo>
                        <a:pt x="326" y="699"/>
                      </a:lnTo>
                      <a:lnTo>
                        <a:pt x="322" y="630"/>
                      </a:lnTo>
                      <a:lnTo>
                        <a:pt x="292" y="626"/>
                      </a:lnTo>
                      <a:lnTo>
                        <a:pt x="263" y="618"/>
                      </a:lnTo>
                      <a:lnTo>
                        <a:pt x="232" y="680"/>
                      </a:lnTo>
                      <a:lnTo>
                        <a:pt x="155" y="640"/>
                      </a:lnTo>
                      <a:lnTo>
                        <a:pt x="186" y="579"/>
                      </a:lnTo>
                      <a:lnTo>
                        <a:pt x="162" y="560"/>
                      </a:lnTo>
                      <a:lnTo>
                        <a:pt x="140" y="538"/>
                      </a:lnTo>
                      <a:lnTo>
                        <a:pt x="83" y="576"/>
                      </a:lnTo>
                      <a:lnTo>
                        <a:pt x="35" y="504"/>
                      </a:lnTo>
                      <a:lnTo>
                        <a:pt x="93" y="466"/>
                      </a:lnTo>
                      <a:lnTo>
                        <a:pt x="83" y="439"/>
                      </a:lnTo>
                      <a:lnTo>
                        <a:pt x="73" y="408"/>
                      </a:lnTo>
                      <a:lnTo>
                        <a:pt x="5" y="412"/>
                      </a:lnTo>
                      <a:lnTo>
                        <a:pt x="0" y="326"/>
                      </a:lnTo>
                      <a:lnTo>
                        <a:pt x="69" y="322"/>
                      </a:lnTo>
                      <a:lnTo>
                        <a:pt x="73" y="292"/>
                      </a:lnTo>
                      <a:lnTo>
                        <a:pt x="81" y="263"/>
                      </a:lnTo>
                      <a:lnTo>
                        <a:pt x="20" y="232"/>
                      </a:lnTo>
                      <a:lnTo>
                        <a:pt x="59" y="154"/>
                      </a:lnTo>
                      <a:lnTo>
                        <a:pt x="121" y="186"/>
                      </a:lnTo>
                      <a:lnTo>
                        <a:pt x="139" y="162"/>
                      </a:lnTo>
                      <a:lnTo>
                        <a:pt x="161" y="140"/>
                      </a:lnTo>
                      <a:lnTo>
                        <a:pt x="123" y="82"/>
                      </a:lnTo>
                      <a:lnTo>
                        <a:pt x="195" y="35"/>
                      </a:lnTo>
                      <a:lnTo>
                        <a:pt x="233" y="93"/>
                      </a:lnTo>
                      <a:lnTo>
                        <a:pt x="261" y="82"/>
                      </a:lnTo>
                      <a:lnTo>
                        <a:pt x="291" y="73"/>
                      </a:lnTo>
                      <a:lnTo>
                        <a:pt x="287" y="5"/>
                      </a:lnTo>
                      <a:lnTo>
                        <a:pt x="373" y="0"/>
                      </a:lnTo>
                      <a:close/>
                    </a:path>
                  </a:pathLst>
                </a:custGeom>
                <a:solidFill>
                  <a:srgbClr val="89A14F"/>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s-ES"/>
                </a:p>
              </p:txBody>
            </p:sp>
            <p:sp>
              <p:nvSpPr>
                <p:cNvPr id="60" name="Freeform 220">
                  <a:extLst>
                    <a:ext uri="{FF2B5EF4-FFF2-40B4-BE49-F238E27FC236}">
                      <a16:creationId xmlns:a16="http://schemas.microsoft.com/office/drawing/2014/main" id="{691F6432-1FA7-460B-846F-5DFABD5D5FF3}"/>
                    </a:ext>
                  </a:extLst>
                </p:cNvPr>
                <p:cNvSpPr>
                  <a:spLocks/>
                </p:cNvSpPr>
                <p:nvPr/>
              </p:nvSpPr>
              <p:spPr bwMode="auto">
                <a:xfrm>
                  <a:off x="3033958" y="1971263"/>
                  <a:ext cx="276479" cy="276507"/>
                </a:xfrm>
                <a:custGeom>
                  <a:avLst/>
                  <a:gdLst>
                    <a:gd name="T0" fmla="*/ 2147483646 w 199"/>
                    <a:gd name="T1" fmla="*/ 0 h 199"/>
                    <a:gd name="T2" fmla="*/ 2147483646 w 199"/>
                    <a:gd name="T3" fmla="*/ 2147483646 h 199"/>
                    <a:gd name="T4" fmla="*/ 2147483646 w 199"/>
                    <a:gd name="T5" fmla="*/ 2147483646 h 199"/>
                    <a:gd name="T6" fmla="*/ 2147483646 w 199"/>
                    <a:gd name="T7" fmla="*/ 2147483646 h 199"/>
                    <a:gd name="T8" fmla="*/ 2147483646 w 199"/>
                    <a:gd name="T9" fmla="*/ 2147483646 h 199"/>
                    <a:gd name="T10" fmla="*/ 2147483646 w 199"/>
                    <a:gd name="T11" fmla="*/ 2147483646 h 199"/>
                    <a:gd name="T12" fmla="*/ 2147483646 w 199"/>
                    <a:gd name="T13" fmla="*/ 2147483646 h 199"/>
                    <a:gd name="T14" fmla="*/ 2147483646 w 199"/>
                    <a:gd name="T15" fmla="*/ 2147483646 h 199"/>
                    <a:gd name="T16" fmla="*/ 2147483646 w 199"/>
                    <a:gd name="T17" fmla="*/ 2147483646 h 199"/>
                    <a:gd name="T18" fmla="*/ 2147483646 w 199"/>
                    <a:gd name="T19" fmla="*/ 2147483646 h 199"/>
                    <a:gd name="T20" fmla="*/ 2147483646 w 199"/>
                    <a:gd name="T21" fmla="*/ 2147483646 h 199"/>
                    <a:gd name="T22" fmla="*/ 2147483646 w 199"/>
                    <a:gd name="T23" fmla="*/ 2147483646 h 199"/>
                    <a:gd name="T24" fmla="*/ 2147483646 w 199"/>
                    <a:gd name="T25" fmla="*/ 2147483646 h 199"/>
                    <a:gd name="T26" fmla="*/ 2147483646 w 199"/>
                    <a:gd name="T27" fmla="*/ 2147483646 h 199"/>
                    <a:gd name="T28" fmla="*/ 2147483646 w 199"/>
                    <a:gd name="T29" fmla="*/ 2147483646 h 199"/>
                    <a:gd name="T30" fmla="*/ 2147483646 w 199"/>
                    <a:gd name="T31" fmla="*/ 2147483646 h 199"/>
                    <a:gd name="T32" fmla="*/ 2147483646 w 199"/>
                    <a:gd name="T33" fmla="*/ 2147483646 h 199"/>
                    <a:gd name="T34" fmla="*/ 2147483646 w 199"/>
                    <a:gd name="T35" fmla="*/ 2147483646 h 199"/>
                    <a:gd name="T36" fmla="*/ 0 w 199"/>
                    <a:gd name="T37" fmla="*/ 2147483646 h 199"/>
                    <a:gd name="T38" fmla="*/ 2147483646 w 199"/>
                    <a:gd name="T39" fmla="*/ 2147483646 h 199"/>
                    <a:gd name="T40" fmla="*/ 2147483646 w 199"/>
                    <a:gd name="T41" fmla="*/ 2147483646 h 199"/>
                    <a:gd name="T42" fmla="*/ 2147483646 w 199"/>
                    <a:gd name="T43" fmla="*/ 2147483646 h 199"/>
                    <a:gd name="T44" fmla="*/ 2147483646 w 199"/>
                    <a:gd name="T45" fmla="*/ 2147483646 h 199"/>
                    <a:gd name="T46" fmla="*/ 2147483646 w 199"/>
                    <a:gd name="T47" fmla="*/ 2147483646 h 199"/>
                    <a:gd name="T48" fmla="*/ 2147483646 w 199"/>
                    <a:gd name="T49" fmla="*/ 0 h 19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9"/>
                    <a:gd name="T76" fmla="*/ 0 h 199"/>
                    <a:gd name="T77" fmla="*/ 199 w 199"/>
                    <a:gd name="T78" fmla="*/ 199 h 19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9" h="199">
                      <a:moveTo>
                        <a:pt x="95" y="0"/>
                      </a:moveTo>
                      <a:lnTo>
                        <a:pt x="121" y="3"/>
                      </a:lnTo>
                      <a:lnTo>
                        <a:pt x="144" y="12"/>
                      </a:lnTo>
                      <a:lnTo>
                        <a:pt x="165" y="25"/>
                      </a:lnTo>
                      <a:lnTo>
                        <a:pt x="182" y="45"/>
                      </a:lnTo>
                      <a:lnTo>
                        <a:pt x="194" y="68"/>
                      </a:lnTo>
                      <a:lnTo>
                        <a:pt x="199" y="94"/>
                      </a:lnTo>
                      <a:lnTo>
                        <a:pt x="197" y="121"/>
                      </a:lnTo>
                      <a:lnTo>
                        <a:pt x="188" y="144"/>
                      </a:lnTo>
                      <a:lnTo>
                        <a:pt x="173" y="165"/>
                      </a:lnTo>
                      <a:lnTo>
                        <a:pt x="155" y="182"/>
                      </a:lnTo>
                      <a:lnTo>
                        <a:pt x="131" y="194"/>
                      </a:lnTo>
                      <a:lnTo>
                        <a:pt x="105" y="199"/>
                      </a:lnTo>
                      <a:lnTo>
                        <a:pt x="79" y="196"/>
                      </a:lnTo>
                      <a:lnTo>
                        <a:pt x="54" y="187"/>
                      </a:lnTo>
                      <a:lnTo>
                        <a:pt x="34" y="174"/>
                      </a:lnTo>
                      <a:lnTo>
                        <a:pt x="17" y="155"/>
                      </a:lnTo>
                      <a:lnTo>
                        <a:pt x="5" y="131"/>
                      </a:lnTo>
                      <a:lnTo>
                        <a:pt x="0" y="105"/>
                      </a:lnTo>
                      <a:lnTo>
                        <a:pt x="3" y="79"/>
                      </a:lnTo>
                      <a:lnTo>
                        <a:pt x="11" y="55"/>
                      </a:lnTo>
                      <a:lnTo>
                        <a:pt x="25" y="34"/>
                      </a:lnTo>
                      <a:lnTo>
                        <a:pt x="45" y="17"/>
                      </a:lnTo>
                      <a:lnTo>
                        <a:pt x="68" y="5"/>
                      </a:lnTo>
                      <a:lnTo>
                        <a:pt x="95" y="0"/>
                      </a:lnTo>
                      <a:close/>
                    </a:path>
                  </a:pathLst>
                </a:custGeom>
                <a:solidFill>
                  <a:srgbClr val="89A14F"/>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s-ES"/>
                </a:p>
              </p:txBody>
            </p:sp>
            <p:sp>
              <p:nvSpPr>
                <p:cNvPr id="61" name="Freeform 221">
                  <a:extLst>
                    <a:ext uri="{FF2B5EF4-FFF2-40B4-BE49-F238E27FC236}">
                      <a16:creationId xmlns:a16="http://schemas.microsoft.com/office/drawing/2014/main" id="{0D2DABE8-7086-494C-B8C6-745B22A70DDD}"/>
                    </a:ext>
                  </a:extLst>
                </p:cNvPr>
                <p:cNvSpPr>
                  <a:spLocks noEditPoints="1"/>
                </p:cNvSpPr>
                <p:nvPr/>
              </p:nvSpPr>
              <p:spPr bwMode="auto">
                <a:xfrm>
                  <a:off x="741335" y="2317412"/>
                  <a:ext cx="454025" cy="452487"/>
                </a:xfrm>
                <a:custGeom>
                  <a:avLst/>
                  <a:gdLst>
                    <a:gd name="T0" fmla="*/ 135 w 327"/>
                    <a:gd name="T1" fmla="*/ 77 h 326"/>
                    <a:gd name="T2" fmla="*/ 95 w 327"/>
                    <a:gd name="T3" fmla="*/ 102 h 326"/>
                    <a:gd name="T4" fmla="*/ 74 w 327"/>
                    <a:gd name="T5" fmla="*/ 144 h 326"/>
                    <a:gd name="T6" fmla="*/ 77 w 327"/>
                    <a:gd name="T7" fmla="*/ 192 h 326"/>
                    <a:gd name="T8" fmla="*/ 102 w 327"/>
                    <a:gd name="T9" fmla="*/ 232 h 326"/>
                    <a:gd name="T10" fmla="*/ 144 w 327"/>
                    <a:gd name="T11" fmla="*/ 253 h 326"/>
                    <a:gd name="T12" fmla="*/ 192 w 327"/>
                    <a:gd name="T13" fmla="*/ 250 h 326"/>
                    <a:gd name="T14" fmla="*/ 232 w 327"/>
                    <a:gd name="T15" fmla="*/ 224 h 326"/>
                    <a:gd name="T16" fmla="*/ 253 w 327"/>
                    <a:gd name="T17" fmla="*/ 182 h 326"/>
                    <a:gd name="T18" fmla="*/ 250 w 327"/>
                    <a:gd name="T19" fmla="*/ 133 h 326"/>
                    <a:gd name="T20" fmla="*/ 224 w 327"/>
                    <a:gd name="T21" fmla="*/ 95 h 326"/>
                    <a:gd name="T22" fmla="*/ 183 w 327"/>
                    <a:gd name="T23" fmla="*/ 73 h 326"/>
                    <a:gd name="T24" fmla="*/ 174 w 327"/>
                    <a:gd name="T25" fmla="*/ 0 h 326"/>
                    <a:gd name="T26" fmla="*/ 204 w 327"/>
                    <a:gd name="T27" fmla="*/ 38 h 326"/>
                    <a:gd name="T28" fmla="*/ 255 w 327"/>
                    <a:gd name="T29" fmla="*/ 27 h 326"/>
                    <a:gd name="T30" fmla="*/ 262 w 327"/>
                    <a:gd name="T31" fmla="*/ 74 h 326"/>
                    <a:gd name="T32" fmla="*/ 310 w 327"/>
                    <a:gd name="T33" fmla="*/ 91 h 326"/>
                    <a:gd name="T34" fmla="*/ 292 w 327"/>
                    <a:gd name="T35" fmla="*/ 136 h 326"/>
                    <a:gd name="T36" fmla="*/ 327 w 327"/>
                    <a:gd name="T37" fmla="*/ 174 h 326"/>
                    <a:gd name="T38" fmla="*/ 289 w 327"/>
                    <a:gd name="T39" fmla="*/ 204 h 326"/>
                    <a:gd name="T40" fmla="*/ 300 w 327"/>
                    <a:gd name="T41" fmla="*/ 254 h 326"/>
                    <a:gd name="T42" fmla="*/ 253 w 327"/>
                    <a:gd name="T43" fmla="*/ 262 h 326"/>
                    <a:gd name="T44" fmla="*/ 236 w 327"/>
                    <a:gd name="T45" fmla="*/ 310 h 326"/>
                    <a:gd name="T46" fmla="*/ 191 w 327"/>
                    <a:gd name="T47" fmla="*/ 292 h 326"/>
                    <a:gd name="T48" fmla="*/ 152 w 327"/>
                    <a:gd name="T49" fmla="*/ 326 h 326"/>
                    <a:gd name="T50" fmla="*/ 123 w 327"/>
                    <a:gd name="T51" fmla="*/ 289 h 326"/>
                    <a:gd name="T52" fmla="*/ 72 w 327"/>
                    <a:gd name="T53" fmla="*/ 300 h 326"/>
                    <a:gd name="T54" fmla="*/ 65 w 327"/>
                    <a:gd name="T55" fmla="*/ 251 h 326"/>
                    <a:gd name="T56" fmla="*/ 17 w 327"/>
                    <a:gd name="T57" fmla="*/ 236 h 326"/>
                    <a:gd name="T58" fmla="*/ 35 w 327"/>
                    <a:gd name="T59" fmla="*/ 191 h 326"/>
                    <a:gd name="T60" fmla="*/ 0 w 327"/>
                    <a:gd name="T61" fmla="*/ 152 h 326"/>
                    <a:gd name="T62" fmla="*/ 38 w 327"/>
                    <a:gd name="T63" fmla="*/ 123 h 326"/>
                    <a:gd name="T64" fmla="*/ 27 w 327"/>
                    <a:gd name="T65" fmla="*/ 72 h 326"/>
                    <a:gd name="T66" fmla="*/ 74 w 327"/>
                    <a:gd name="T67" fmla="*/ 65 h 326"/>
                    <a:gd name="T68" fmla="*/ 92 w 327"/>
                    <a:gd name="T69" fmla="*/ 16 h 326"/>
                    <a:gd name="T70" fmla="*/ 136 w 327"/>
                    <a:gd name="T71" fmla="*/ 34 h 326"/>
                    <a:gd name="T72" fmla="*/ 174 w 327"/>
                    <a:gd name="T7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7" h="326">
                      <a:moveTo>
                        <a:pt x="158" y="72"/>
                      </a:moveTo>
                      <a:lnTo>
                        <a:pt x="135" y="77"/>
                      </a:lnTo>
                      <a:lnTo>
                        <a:pt x="112" y="88"/>
                      </a:lnTo>
                      <a:lnTo>
                        <a:pt x="95" y="102"/>
                      </a:lnTo>
                      <a:lnTo>
                        <a:pt x="82" y="122"/>
                      </a:lnTo>
                      <a:lnTo>
                        <a:pt x="74" y="144"/>
                      </a:lnTo>
                      <a:lnTo>
                        <a:pt x="72" y="169"/>
                      </a:lnTo>
                      <a:lnTo>
                        <a:pt x="77" y="192"/>
                      </a:lnTo>
                      <a:lnTo>
                        <a:pt x="88" y="213"/>
                      </a:lnTo>
                      <a:lnTo>
                        <a:pt x="102" y="232"/>
                      </a:lnTo>
                      <a:lnTo>
                        <a:pt x="122" y="245"/>
                      </a:lnTo>
                      <a:lnTo>
                        <a:pt x="144" y="253"/>
                      </a:lnTo>
                      <a:lnTo>
                        <a:pt x="169" y="254"/>
                      </a:lnTo>
                      <a:lnTo>
                        <a:pt x="192" y="250"/>
                      </a:lnTo>
                      <a:lnTo>
                        <a:pt x="215" y="239"/>
                      </a:lnTo>
                      <a:lnTo>
                        <a:pt x="232" y="224"/>
                      </a:lnTo>
                      <a:lnTo>
                        <a:pt x="245" y="204"/>
                      </a:lnTo>
                      <a:lnTo>
                        <a:pt x="253" y="182"/>
                      </a:lnTo>
                      <a:lnTo>
                        <a:pt x="255" y="158"/>
                      </a:lnTo>
                      <a:lnTo>
                        <a:pt x="250" y="133"/>
                      </a:lnTo>
                      <a:lnTo>
                        <a:pt x="240" y="112"/>
                      </a:lnTo>
                      <a:lnTo>
                        <a:pt x="224" y="95"/>
                      </a:lnTo>
                      <a:lnTo>
                        <a:pt x="205" y="82"/>
                      </a:lnTo>
                      <a:lnTo>
                        <a:pt x="183" y="73"/>
                      </a:lnTo>
                      <a:lnTo>
                        <a:pt x="158" y="72"/>
                      </a:lnTo>
                      <a:close/>
                      <a:moveTo>
                        <a:pt x="174" y="0"/>
                      </a:moveTo>
                      <a:lnTo>
                        <a:pt x="177" y="33"/>
                      </a:lnTo>
                      <a:lnTo>
                        <a:pt x="204" y="38"/>
                      </a:lnTo>
                      <a:lnTo>
                        <a:pt x="219" y="9"/>
                      </a:lnTo>
                      <a:lnTo>
                        <a:pt x="255" y="27"/>
                      </a:lnTo>
                      <a:lnTo>
                        <a:pt x="241" y="56"/>
                      </a:lnTo>
                      <a:lnTo>
                        <a:pt x="262" y="74"/>
                      </a:lnTo>
                      <a:lnTo>
                        <a:pt x="288" y="57"/>
                      </a:lnTo>
                      <a:lnTo>
                        <a:pt x="310" y="91"/>
                      </a:lnTo>
                      <a:lnTo>
                        <a:pt x="284" y="109"/>
                      </a:lnTo>
                      <a:lnTo>
                        <a:pt x="292" y="136"/>
                      </a:lnTo>
                      <a:lnTo>
                        <a:pt x="325" y="133"/>
                      </a:lnTo>
                      <a:lnTo>
                        <a:pt x="327" y="174"/>
                      </a:lnTo>
                      <a:lnTo>
                        <a:pt x="295" y="177"/>
                      </a:lnTo>
                      <a:lnTo>
                        <a:pt x="289" y="204"/>
                      </a:lnTo>
                      <a:lnTo>
                        <a:pt x="318" y="219"/>
                      </a:lnTo>
                      <a:lnTo>
                        <a:pt x="300" y="254"/>
                      </a:lnTo>
                      <a:lnTo>
                        <a:pt x="271" y="239"/>
                      </a:lnTo>
                      <a:lnTo>
                        <a:pt x="253" y="262"/>
                      </a:lnTo>
                      <a:lnTo>
                        <a:pt x="270" y="288"/>
                      </a:lnTo>
                      <a:lnTo>
                        <a:pt x="236" y="310"/>
                      </a:lnTo>
                      <a:lnTo>
                        <a:pt x="219" y="283"/>
                      </a:lnTo>
                      <a:lnTo>
                        <a:pt x="191" y="292"/>
                      </a:lnTo>
                      <a:lnTo>
                        <a:pt x="192" y="325"/>
                      </a:lnTo>
                      <a:lnTo>
                        <a:pt x="152" y="326"/>
                      </a:lnTo>
                      <a:lnTo>
                        <a:pt x="150" y="294"/>
                      </a:lnTo>
                      <a:lnTo>
                        <a:pt x="123" y="289"/>
                      </a:lnTo>
                      <a:lnTo>
                        <a:pt x="109" y="318"/>
                      </a:lnTo>
                      <a:lnTo>
                        <a:pt x="72" y="300"/>
                      </a:lnTo>
                      <a:lnTo>
                        <a:pt x="86" y="271"/>
                      </a:lnTo>
                      <a:lnTo>
                        <a:pt x="65" y="251"/>
                      </a:lnTo>
                      <a:lnTo>
                        <a:pt x="39" y="270"/>
                      </a:lnTo>
                      <a:lnTo>
                        <a:pt x="17" y="236"/>
                      </a:lnTo>
                      <a:lnTo>
                        <a:pt x="43" y="217"/>
                      </a:lnTo>
                      <a:lnTo>
                        <a:pt x="35" y="191"/>
                      </a:lnTo>
                      <a:lnTo>
                        <a:pt x="2" y="192"/>
                      </a:lnTo>
                      <a:lnTo>
                        <a:pt x="0" y="152"/>
                      </a:lnTo>
                      <a:lnTo>
                        <a:pt x="33" y="150"/>
                      </a:lnTo>
                      <a:lnTo>
                        <a:pt x="38" y="123"/>
                      </a:lnTo>
                      <a:lnTo>
                        <a:pt x="9" y="109"/>
                      </a:lnTo>
                      <a:lnTo>
                        <a:pt x="27" y="72"/>
                      </a:lnTo>
                      <a:lnTo>
                        <a:pt x="56" y="86"/>
                      </a:lnTo>
                      <a:lnTo>
                        <a:pt x="74" y="65"/>
                      </a:lnTo>
                      <a:lnTo>
                        <a:pt x="57" y="38"/>
                      </a:lnTo>
                      <a:lnTo>
                        <a:pt x="92" y="16"/>
                      </a:lnTo>
                      <a:lnTo>
                        <a:pt x="109" y="43"/>
                      </a:lnTo>
                      <a:lnTo>
                        <a:pt x="136" y="34"/>
                      </a:lnTo>
                      <a:lnTo>
                        <a:pt x="133" y="2"/>
                      </a:lnTo>
                      <a:lnTo>
                        <a:pt x="174" y="0"/>
                      </a:lnTo>
                      <a:close/>
                    </a:path>
                  </a:pathLst>
                </a:custGeom>
                <a:solidFill>
                  <a:srgbClr val="44464A"/>
                </a:solidFill>
                <a:ln w="0">
                  <a:noFill/>
                  <a:prstDash val="solid"/>
                  <a:round/>
                  <a:headEnd/>
                  <a:tailEnd/>
                </a:ln>
              </p:spPr>
              <p:txBody>
                <a:bodyPr/>
                <a:lstStyle/>
                <a:p>
                  <a:pPr eaLnBrk="1" fontAlgn="auto" hangingPunct="1">
                    <a:spcBef>
                      <a:spcPts val="0"/>
                    </a:spcBef>
                    <a:spcAft>
                      <a:spcPts val="0"/>
                    </a:spcAft>
                    <a:defRPr/>
                  </a:pPr>
                  <a:endParaRPr lang="en-US" dirty="0">
                    <a:latin typeface="+mn-lt"/>
                    <a:cs typeface="+mn-cs"/>
                  </a:endParaRPr>
                </a:p>
              </p:txBody>
            </p:sp>
            <p:sp>
              <p:nvSpPr>
                <p:cNvPr id="62" name="Freeform 222">
                  <a:extLst>
                    <a:ext uri="{FF2B5EF4-FFF2-40B4-BE49-F238E27FC236}">
                      <a16:creationId xmlns:a16="http://schemas.microsoft.com/office/drawing/2014/main" id="{31CBA376-CC97-4A31-96D1-0C28008F1607}"/>
                    </a:ext>
                  </a:extLst>
                </p:cNvPr>
                <p:cNvSpPr>
                  <a:spLocks/>
                </p:cNvSpPr>
                <p:nvPr/>
              </p:nvSpPr>
              <p:spPr bwMode="auto">
                <a:xfrm>
                  <a:off x="904848" y="2477767"/>
                  <a:ext cx="127000" cy="130189"/>
                </a:xfrm>
                <a:custGeom>
                  <a:avLst/>
                  <a:gdLst>
                    <a:gd name="T0" fmla="*/ 43 w 91"/>
                    <a:gd name="T1" fmla="*/ 0 h 93"/>
                    <a:gd name="T2" fmla="*/ 61 w 91"/>
                    <a:gd name="T3" fmla="*/ 3 h 93"/>
                    <a:gd name="T4" fmla="*/ 77 w 91"/>
                    <a:gd name="T5" fmla="*/ 12 h 93"/>
                    <a:gd name="T6" fmla="*/ 87 w 91"/>
                    <a:gd name="T7" fmla="*/ 27 h 93"/>
                    <a:gd name="T8" fmla="*/ 91 w 91"/>
                    <a:gd name="T9" fmla="*/ 45 h 93"/>
                    <a:gd name="T10" fmla="*/ 89 w 91"/>
                    <a:gd name="T11" fmla="*/ 63 h 93"/>
                    <a:gd name="T12" fmla="*/ 80 w 91"/>
                    <a:gd name="T13" fmla="*/ 78 h 93"/>
                    <a:gd name="T14" fmla="*/ 67 w 91"/>
                    <a:gd name="T15" fmla="*/ 89 h 93"/>
                    <a:gd name="T16" fmla="*/ 48 w 91"/>
                    <a:gd name="T17" fmla="*/ 93 h 93"/>
                    <a:gd name="T18" fmla="*/ 30 w 91"/>
                    <a:gd name="T19" fmla="*/ 91 h 93"/>
                    <a:gd name="T20" fmla="*/ 14 w 91"/>
                    <a:gd name="T21" fmla="*/ 82 h 93"/>
                    <a:gd name="T22" fmla="*/ 4 w 91"/>
                    <a:gd name="T23" fmla="*/ 67 h 93"/>
                    <a:gd name="T24" fmla="*/ 0 w 91"/>
                    <a:gd name="T25" fmla="*/ 50 h 93"/>
                    <a:gd name="T26" fmla="*/ 2 w 91"/>
                    <a:gd name="T27" fmla="*/ 32 h 93"/>
                    <a:gd name="T28" fmla="*/ 11 w 91"/>
                    <a:gd name="T29" fmla="*/ 16 h 93"/>
                    <a:gd name="T30" fmla="*/ 25 w 91"/>
                    <a:gd name="T31" fmla="*/ 6 h 93"/>
                    <a:gd name="T32" fmla="*/ 43 w 91"/>
                    <a:gd name="T33"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93">
                      <a:moveTo>
                        <a:pt x="43" y="0"/>
                      </a:moveTo>
                      <a:lnTo>
                        <a:pt x="61" y="3"/>
                      </a:lnTo>
                      <a:lnTo>
                        <a:pt x="77" y="12"/>
                      </a:lnTo>
                      <a:lnTo>
                        <a:pt x="87" y="27"/>
                      </a:lnTo>
                      <a:lnTo>
                        <a:pt x="91" y="45"/>
                      </a:lnTo>
                      <a:lnTo>
                        <a:pt x="89" y="63"/>
                      </a:lnTo>
                      <a:lnTo>
                        <a:pt x="80" y="78"/>
                      </a:lnTo>
                      <a:lnTo>
                        <a:pt x="67" y="89"/>
                      </a:lnTo>
                      <a:lnTo>
                        <a:pt x="48" y="93"/>
                      </a:lnTo>
                      <a:lnTo>
                        <a:pt x="30" y="91"/>
                      </a:lnTo>
                      <a:lnTo>
                        <a:pt x="14" y="82"/>
                      </a:lnTo>
                      <a:lnTo>
                        <a:pt x="4" y="67"/>
                      </a:lnTo>
                      <a:lnTo>
                        <a:pt x="0" y="50"/>
                      </a:lnTo>
                      <a:lnTo>
                        <a:pt x="2" y="32"/>
                      </a:lnTo>
                      <a:lnTo>
                        <a:pt x="11" y="16"/>
                      </a:lnTo>
                      <a:lnTo>
                        <a:pt x="25" y="6"/>
                      </a:lnTo>
                      <a:lnTo>
                        <a:pt x="43" y="0"/>
                      </a:lnTo>
                      <a:close/>
                    </a:path>
                  </a:pathLst>
                </a:custGeom>
                <a:solidFill>
                  <a:srgbClr val="44464A"/>
                </a:solidFill>
                <a:ln w="0">
                  <a:noFill/>
                  <a:prstDash val="solid"/>
                  <a:round/>
                  <a:headEnd/>
                  <a:tailEnd/>
                </a:ln>
              </p:spPr>
              <p:txBody>
                <a:bodyPr/>
                <a:lstStyle/>
                <a:p>
                  <a:pPr eaLnBrk="1" fontAlgn="auto" hangingPunct="1">
                    <a:spcBef>
                      <a:spcPts val="0"/>
                    </a:spcBef>
                    <a:spcAft>
                      <a:spcPts val="0"/>
                    </a:spcAft>
                    <a:defRPr/>
                  </a:pPr>
                  <a:endParaRPr lang="en-US" dirty="0">
                    <a:latin typeface="+mn-lt"/>
                    <a:cs typeface="+mn-cs"/>
                  </a:endParaRPr>
                </a:p>
              </p:txBody>
            </p:sp>
            <p:sp>
              <p:nvSpPr>
                <p:cNvPr id="63" name="Freeform 223">
                  <a:extLst>
                    <a:ext uri="{FF2B5EF4-FFF2-40B4-BE49-F238E27FC236}">
                      <a16:creationId xmlns:a16="http://schemas.microsoft.com/office/drawing/2014/main" id="{D85BBE09-6013-4CC0-BA7E-DE067D64F581}"/>
                    </a:ext>
                  </a:extLst>
                </p:cNvPr>
                <p:cNvSpPr>
                  <a:spLocks noEditPoints="1"/>
                </p:cNvSpPr>
                <p:nvPr/>
              </p:nvSpPr>
              <p:spPr bwMode="auto">
                <a:xfrm>
                  <a:off x="2394863" y="3303772"/>
                  <a:ext cx="416801" cy="415455"/>
                </a:xfrm>
                <a:custGeom>
                  <a:avLst/>
                  <a:gdLst>
                    <a:gd name="T0" fmla="*/ 2147483646 w 300"/>
                    <a:gd name="T1" fmla="*/ 2147483646 h 299"/>
                    <a:gd name="T2" fmla="*/ 2147483646 w 300"/>
                    <a:gd name="T3" fmla="*/ 2147483646 h 299"/>
                    <a:gd name="T4" fmla="*/ 2147483646 w 300"/>
                    <a:gd name="T5" fmla="*/ 2147483646 h 299"/>
                    <a:gd name="T6" fmla="*/ 2147483646 w 300"/>
                    <a:gd name="T7" fmla="*/ 2147483646 h 299"/>
                    <a:gd name="T8" fmla="*/ 2147483646 w 300"/>
                    <a:gd name="T9" fmla="*/ 2147483646 h 299"/>
                    <a:gd name="T10" fmla="*/ 2147483646 w 300"/>
                    <a:gd name="T11" fmla="*/ 2147483646 h 299"/>
                    <a:gd name="T12" fmla="*/ 2147483646 w 300"/>
                    <a:gd name="T13" fmla="*/ 2147483646 h 299"/>
                    <a:gd name="T14" fmla="*/ 2147483646 w 300"/>
                    <a:gd name="T15" fmla="*/ 2147483646 h 299"/>
                    <a:gd name="T16" fmla="*/ 2147483646 w 300"/>
                    <a:gd name="T17" fmla="*/ 2147483646 h 299"/>
                    <a:gd name="T18" fmla="*/ 2147483646 w 300"/>
                    <a:gd name="T19" fmla="*/ 2147483646 h 299"/>
                    <a:gd name="T20" fmla="*/ 2147483646 w 300"/>
                    <a:gd name="T21" fmla="*/ 2147483646 h 299"/>
                    <a:gd name="T22" fmla="*/ 2147483646 w 300"/>
                    <a:gd name="T23" fmla="*/ 2147483646 h 299"/>
                    <a:gd name="T24" fmla="*/ 2147483646 w 300"/>
                    <a:gd name="T25" fmla="*/ 0 h 299"/>
                    <a:gd name="T26" fmla="*/ 2147483646 w 300"/>
                    <a:gd name="T27" fmla="*/ 2147483646 h 299"/>
                    <a:gd name="T28" fmla="*/ 2147483646 w 300"/>
                    <a:gd name="T29" fmla="*/ 2147483646 h 299"/>
                    <a:gd name="T30" fmla="*/ 2147483646 w 300"/>
                    <a:gd name="T31" fmla="*/ 2147483646 h 299"/>
                    <a:gd name="T32" fmla="*/ 2147483646 w 300"/>
                    <a:gd name="T33" fmla="*/ 2147483646 h 299"/>
                    <a:gd name="T34" fmla="*/ 2147483646 w 300"/>
                    <a:gd name="T35" fmla="*/ 2147483646 h 299"/>
                    <a:gd name="T36" fmla="*/ 2147483646 w 300"/>
                    <a:gd name="T37" fmla="*/ 2147483646 h 299"/>
                    <a:gd name="T38" fmla="*/ 2147483646 w 300"/>
                    <a:gd name="T39" fmla="*/ 2147483646 h 299"/>
                    <a:gd name="T40" fmla="*/ 2147483646 w 300"/>
                    <a:gd name="T41" fmla="*/ 2147483646 h 299"/>
                    <a:gd name="T42" fmla="*/ 2147483646 w 300"/>
                    <a:gd name="T43" fmla="*/ 2147483646 h 299"/>
                    <a:gd name="T44" fmla="*/ 2147483646 w 300"/>
                    <a:gd name="T45" fmla="*/ 2147483646 h 299"/>
                    <a:gd name="T46" fmla="*/ 2147483646 w 300"/>
                    <a:gd name="T47" fmla="*/ 2147483646 h 299"/>
                    <a:gd name="T48" fmla="*/ 2147483646 w 300"/>
                    <a:gd name="T49" fmla="*/ 2147483646 h 299"/>
                    <a:gd name="T50" fmla="*/ 2147483646 w 300"/>
                    <a:gd name="T51" fmla="*/ 2147483646 h 299"/>
                    <a:gd name="T52" fmla="*/ 2147483646 w 300"/>
                    <a:gd name="T53" fmla="*/ 2147483646 h 299"/>
                    <a:gd name="T54" fmla="*/ 2147483646 w 300"/>
                    <a:gd name="T55" fmla="*/ 2147483646 h 299"/>
                    <a:gd name="T56" fmla="*/ 2147483646 w 300"/>
                    <a:gd name="T57" fmla="*/ 2147483646 h 299"/>
                    <a:gd name="T58" fmla="*/ 2147483646 w 300"/>
                    <a:gd name="T59" fmla="*/ 2147483646 h 299"/>
                    <a:gd name="T60" fmla="*/ 2147483646 w 300"/>
                    <a:gd name="T61" fmla="*/ 2147483646 h 299"/>
                    <a:gd name="T62" fmla="*/ 2147483646 w 300"/>
                    <a:gd name="T63" fmla="*/ 2147483646 h 299"/>
                    <a:gd name="T64" fmla="*/ 2147483646 w 300"/>
                    <a:gd name="T65" fmla="*/ 2147483646 h 299"/>
                    <a:gd name="T66" fmla="*/ 2147483646 w 300"/>
                    <a:gd name="T67" fmla="*/ 2147483646 h 299"/>
                    <a:gd name="T68" fmla="*/ 2147483646 w 300"/>
                    <a:gd name="T69" fmla="*/ 2147483646 h 299"/>
                    <a:gd name="T70" fmla="*/ 2147483646 w 300"/>
                    <a:gd name="T71" fmla="*/ 2147483646 h 299"/>
                    <a:gd name="T72" fmla="*/ 2147483646 w 300"/>
                    <a:gd name="T73" fmla="*/ 2147483646 h 299"/>
                    <a:gd name="T74" fmla="*/ 2147483646 w 300"/>
                    <a:gd name="T75" fmla="*/ 2147483646 h 299"/>
                    <a:gd name="T76" fmla="*/ 2147483646 w 300"/>
                    <a:gd name="T77" fmla="*/ 0 h 29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00"/>
                    <a:gd name="T118" fmla="*/ 0 h 299"/>
                    <a:gd name="T119" fmla="*/ 300 w 300"/>
                    <a:gd name="T120" fmla="*/ 299 h 29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00" h="299">
                      <a:moveTo>
                        <a:pt x="146" y="66"/>
                      </a:moveTo>
                      <a:lnTo>
                        <a:pt x="124" y="70"/>
                      </a:lnTo>
                      <a:lnTo>
                        <a:pt x="104" y="79"/>
                      </a:lnTo>
                      <a:lnTo>
                        <a:pt x="88" y="94"/>
                      </a:lnTo>
                      <a:lnTo>
                        <a:pt x="76" y="111"/>
                      </a:lnTo>
                      <a:lnTo>
                        <a:pt x="69" y="132"/>
                      </a:lnTo>
                      <a:lnTo>
                        <a:pt x="67" y="154"/>
                      </a:lnTo>
                      <a:lnTo>
                        <a:pt x="71" y="176"/>
                      </a:lnTo>
                      <a:lnTo>
                        <a:pt x="80" y="196"/>
                      </a:lnTo>
                      <a:lnTo>
                        <a:pt x="95" y="212"/>
                      </a:lnTo>
                      <a:lnTo>
                        <a:pt x="113" y="225"/>
                      </a:lnTo>
                      <a:lnTo>
                        <a:pt x="133" y="231"/>
                      </a:lnTo>
                      <a:lnTo>
                        <a:pt x="155" y="234"/>
                      </a:lnTo>
                      <a:lnTo>
                        <a:pt x="177" y="229"/>
                      </a:lnTo>
                      <a:lnTo>
                        <a:pt x="197" y="220"/>
                      </a:lnTo>
                      <a:lnTo>
                        <a:pt x="214" y="205"/>
                      </a:lnTo>
                      <a:lnTo>
                        <a:pt x="226" y="188"/>
                      </a:lnTo>
                      <a:lnTo>
                        <a:pt x="234" y="167"/>
                      </a:lnTo>
                      <a:lnTo>
                        <a:pt x="235" y="145"/>
                      </a:lnTo>
                      <a:lnTo>
                        <a:pt x="231" y="123"/>
                      </a:lnTo>
                      <a:lnTo>
                        <a:pt x="221" y="103"/>
                      </a:lnTo>
                      <a:lnTo>
                        <a:pt x="207" y="87"/>
                      </a:lnTo>
                      <a:lnTo>
                        <a:pt x="189" y="74"/>
                      </a:lnTo>
                      <a:lnTo>
                        <a:pt x="168" y="68"/>
                      </a:lnTo>
                      <a:lnTo>
                        <a:pt x="146" y="66"/>
                      </a:lnTo>
                      <a:close/>
                      <a:moveTo>
                        <a:pt x="162" y="0"/>
                      </a:moveTo>
                      <a:lnTo>
                        <a:pt x="163" y="28"/>
                      </a:lnTo>
                      <a:lnTo>
                        <a:pt x="188" y="34"/>
                      </a:lnTo>
                      <a:lnTo>
                        <a:pt x="201" y="7"/>
                      </a:lnTo>
                      <a:lnTo>
                        <a:pt x="235" y="24"/>
                      </a:lnTo>
                      <a:lnTo>
                        <a:pt x="222" y="51"/>
                      </a:lnTo>
                      <a:lnTo>
                        <a:pt x="231" y="60"/>
                      </a:lnTo>
                      <a:lnTo>
                        <a:pt x="242" y="69"/>
                      </a:lnTo>
                      <a:lnTo>
                        <a:pt x="265" y="52"/>
                      </a:lnTo>
                      <a:lnTo>
                        <a:pt x="286" y="83"/>
                      </a:lnTo>
                      <a:lnTo>
                        <a:pt x="261" y="99"/>
                      </a:lnTo>
                      <a:lnTo>
                        <a:pt x="269" y="124"/>
                      </a:lnTo>
                      <a:lnTo>
                        <a:pt x="299" y="123"/>
                      </a:lnTo>
                      <a:lnTo>
                        <a:pt x="300" y="159"/>
                      </a:lnTo>
                      <a:lnTo>
                        <a:pt x="272" y="162"/>
                      </a:lnTo>
                      <a:lnTo>
                        <a:pt x="266" y="187"/>
                      </a:lnTo>
                      <a:lnTo>
                        <a:pt x="293" y="200"/>
                      </a:lnTo>
                      <a:lnTo>
                        <a:pt x="276" y="234"/>
                      </a:lnTo>
                      <a:lnTo>
                        <a:pt x="249" y="221"/>
                      </a:lnTo>
                      <a:lnTo>
                        <a:pt x="242" y="230"/>
                      </a:lnTo>
                      <a:lnTo>
                        <a:pt x="232" y="239"/>
                      </a:lnTo>
                      <a:lnTo>
                        <a:pt x="248" y="264"/>
                      </a:lnTo>
                      <a:lnTo>
                        <a:pt x="217" y="285"/>
                      </a:lnTo>
                      <a:lnTo>
                        <a:pt x="201" y="260"/>
                      </a:lnTo>
                      <a:lnTo>
                        <a:pt x="176" y="268"/>
                      </a:lnTo>
                      <a:lnTo>
                        <a:pt x="177" y="298"/>
                      </a:lnTo>
                      <a:lnTo>
                        <a:pt x="141" y="299"/>
                      </a:lnTo>
                      <a:lnTo>
                        <a:pt x="139" y="271"/>
                      </a:lnTo>
                      <a:lnTo>
                        <a:pt x="113" y="265"/>
                      </a:lnTo>
                      <a:lnTo>
                        <a:pt x="100" y="292"/>
                      </a:lnTo>
                      <a:lnTo>
                        <a:pt x="67" y="275"/>
                      </a:lnTo>
                      <a:lnTo>
                        <a:pt x="80" y="248"/>
                      </a:lnTo>
                      <a:lnTo>
                        <a:pt x="70" y="241"/>
                      </a:lnTo>
                      <a:lnTo>
                        <a:pt x="61" y="231"/>
                      </a:lnTo>
                      <a:lnTo>
                        <a:pt x="36" y="247"/>
                      </a:lnTo>
                      <a:lnTo>
                        <a:pt x="16" y="216"/>
                      </a:lnTo>
                      <a:lnTo>
                        <a:pt x="40" y="200"/>
                      </a:lnTo>
                      <a:lnTo>
                        <a:pt x="32" y="175"/>
                      </a:lnTo>
                      <a:lnTo>
                        <a:pt x="3" y="176"/>
                      </a:lnTo>
                      <a:lnTo>
                        <a:pt x="0" y="140"/>
                      </a:lnTo>
                      <a:lnTo>
                        <a:pt x="31" y="138"/>
                      </a:lnTo>
                      <a:lnTo>
                        <a:pt x="36" y="112"/>
                      </a:lnTo>
                      <a:lnTo>
                        <a:pt x="10" y="99"/>
                      </a:lnTo>
                      <a:lnTo>
                        <a:pt x="25" y="66"/>
                      </a:lnTo>
                      <a:lnTo>
                        <a:pt x="53" y="79"/>
                      </a:lnTo>
                      <a:lnTo>
                        <a:pt x="61" y="69"/>
                      </a:lnTo>
                      <a:lnTo>
                        <a:pt x="70" y="60"/>
                      </a:lnTo>
                      <a:lnTo>
                        <a:pt x="53" y="35"/>
                      </a:lnTo>
                      <a:lnTo>
                        <a:pt x="84" y="14"/>
                      </a:lnTo>
                      <a:lnTo>
                        <a:pt x="101" y="39"/>
                      </a:lnTo>
                      <a:lnTo>
                        <a:pt x="125" y="31"/>
                      </a:lnTo>
                      <a:lnTo>
                        <a:pt x="124" y="2"/>
                      </a:lnTo>
                      <a:lnTo>
                        <a:pt x="162" y="0"/>
                      </a:lnTo>
                      <a:close/>
                    </a:path>
                  </a:pathLst>
                </a:custGeom>
                <a:solidFill>
                  <a:srgbClr val="44464A"/>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s-ES"/>
                </a:p>
              </p:txBody>
            </p:sp>
            <p:sp>
              <p:nvSpPr>
                <p:cNvPr id="64" name="Freeform 224">
                  <a:extLst>
                    <a:ext uri="{FF2B5EF4-FFF2-40B4-BE49-F238E27FC236}">
                      <a16:creationId xmlns:a16="http://schemas.microsoft.com/office/drawing/2014/main" id="{E8EE4FC1-4FF2-420E-AA5A-4BD06723BA7E}"/>
                    </a:ext>
                  </a:extLst>
                </p:cNvPr>
                <p:cNvSpPr>
                  <a:spLocks/>
                </p:cNvSpPr>
                <p:nvPr/>
              </p:nvSpPr>
              <p:spPr bwMode="auto">
                <a:xfrm>
                  <a:off x="2544911" y="3452446"/>
                  <a:ext cx="118094" cy="118106"/>
                </a:xfrm>
                <a:custGeom>
                  <a:avLst/>
                  <a:gdLst>
                    <a:gd name="T0" fmla="*/ 2147483646 w 85"/>
                    <a:gd name="T1" fmla="*/ 0 h 85"/>
                    <a:gd name="T2" fmla="*/ 2147483646 w 85"/>
                    <a:gd name="T3" fmla="*/ 2147483646 h 85"/>
                    <a:gd name="T4" fmla="*/ 2147483646 w 85"/>
                    <a:gd name="T5" fmla="*/ 2147483646 h 85"/>
                    <a:gd name="T6" fmla="*/ 2147483646 w 85"/>
                    <a:gd name="T7" fmla="*/ 2147483646 h 85"/>
                    <a:gd name="T8" fmla="*/ 2147483646 w 85"/>
                    <a:gd name="T9" fmla="*/ 2147483646 h 85"/>
                    <a:gd name="T10" fmla="*/ 2147483646 w 85"/>
                    <a:gd name="T11" fmla="*/ 2147483646 h 85"/>
                    <a:gd name="T12" fmla="*/ 2147483646 w 85"/>
                    <a:gd name="T13" fmla="*/ 2147483646 h 85"/>
                    <a:gd name="T14" fmla="*/ 2147483646 w 85"/>
                    <a:gd name="T15" fmla="*/ 2147483646 h 85"/>
                    <a:gd name="T16" fmla="*/ 2147483646 w 85"/>
                    <a:gd name="T17" fmla="*/ 2147483646 h 85"/>
                    <a:gd name="T18" fmla="*/ 2147483646 w 85"/>
                    <a:gd name="T19" fmla="*/ 2147483646 h 85"/>
                    <a:gd name="T20" fmla="*/ 2147483646 w 85"/>
                    <a:gd name="T21" fmla="*/ 2147483646 h 85"/>
                    <a:gd name="T22" fmla="*/ 2147483646 w 85"/>
                    <a:gd name="T23" fmla="*/ 2147483646 h 85"/>
                    <a:gd name="T24" fmla="*/ 0 w 85"/>
                    <a:gd name="T25" fmla="*/ 2147483646 h 85"/>
                    <a:gd name="T26" fmla="*/ 2147483646 w 85"/>
                    <a:gd name="T27" fmla="*/ 2147483646 h 85"/>
                    <a:gd name="T28" fmla="*/ 2147483646 w 85"/>
                    <a:gd name="T29" fmla="*/ 2147483646 h 85"/>
                    <a:gd name="T30" fmla="*/ 2147483646 w 85"/>
                    <a:gd name="T31" fmla="*/ 2147483646 h 85"/>
                    <a:gd name="T32" fmla="*/ 2147483646 w 85"/>
                    <a:gd name="T33" fmla="*/ 0 h 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5"/>
                    <a:gd name="T52" fmla="*/ 0 h 85"/>
                    <a:gd name="T53" fmla="*/ 85 w 85"/>
                    <a:gd name="T54" fmla="*/ 85 h 8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5" h="85">
                      <a:moveTo>
                        <a:pt x="41" y="0"/>
                      </a:moveTo>
                      <a:lnTo>
                        <a:pt x="58" y="3"/>
                      </a:lnTo>
                      <a:lnTo>
                        <a:pt x="72" y="10"/>
                      </a:lnTo>
                      <a:lnTo>
                        <a:pt x="81" y="24"/>
                      </a:lnTo>
                      <a:lnTo>
                        <a:pt x="85" y="41"/>
                      </a:lnTo>
                      <a:lnTo>
                        <a:pt x="82" y="58"/>
                      </a:lnTo>
                      <a:lnTo>
                        <a:pt x="75" y="71"/>
                      </a:lnTo>
                      <a:lnTo>
                        <a:pt x="61" y="81"/>
                      </a:lnTo>
                      <a:lnTo>
                        <a:pt x="46" y="85"/>
                      </a:lnTo>
                      <a:lnTo>
                        <a:pt x="29" y="82"/>
                      </a:lnTo>
                      <a:lnTo>
                        <a:pt x="14" y="75"/>
                      </a:lnTo>
                      <a:lnTo>
                        <a:pt x="5" y="62"/>
                      </a:lnTo>
                      <a:lnTo>
                        <a:pt x="0" y="44"/>
                      </a:lnTo>
                      <a:lnTo>
                        <a:pt x="3" y="29"/>
                      </a:lnTo>
                      <a:lnTo>
                        <a:pt x="12" y="14"/>
                      </a:lnTo>
                      <a:lnTo>
                        <a:pt x="23" y="4"/>
                      </a:lnTo>
                      <a:lnTo>
                        <a:pt x="41" y="0"/>
                      </a:lnTo>
                      <a:close/>
                    </a:path>
                  </a:pathLst>
                </a:custGeom>
                <a:solidFill>
                  <a:srgbClr val="44464A"/>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s-ES"/>
                </a:p>
              </p:txBody>
            </p:sp>
            <p:sp>
              <p:nvSpPr>
                <p:cNvPr id="65" name="Freeform 225">
                  <a:extLst>
                    <a:ext uri="{FF2B5EF4-FFF2-40B4-BE49-F238E27FC236}">
                      <a16:creationId xmlns:a16="http://schemas.microsoft.com/office/drawing/2014/main" id="{170DCF74-19E3-4AD6-ACF1-1A95B54803A2}"/>
                    </a:ext>
                  </a:extLst>
                </p:cNvPr>
                <p:cNvSpPr>
                  <a:spLocks noEditPoints="1"/>
                </p:cNvSpPr>
                <p:nvPr/>
              </p:nvSpPr>
              <p:spPr bwMode="auto">
                <a:xfrm>
                  <a:off x="2769984" y="3235687"/>
                  <a:ext cx="170889" cy="170906"/>
                </a:xfrm>
                <a:custGeom>
                  <a:avLst/>
                  <a:gdLst>
                    <a:gd name="T0" fmla="*/ 2147483646 w 123"/>
                    <a:gd name="T1" fmla="*/ 2147483646 h 123"/>
                    <a:gd name="T2" fmla="*/ 2147483646 w 123"/>
                    <a:gd name="T3" fmla="*/ 2147483646 h 123"/>
                    <a:gd name="T4" fmla="*/ 2147483646 w 123"/>
                    <a:gd name="T5" fmla="*/ 2147483646 h 123"/>
                    <a:gd name="T6" fmla="*/ 2147483646 w 123"/>
                    <a:gd name="T7" fmla="*/ 2147483646 h 123"/>
                    <a:gd name="T8" fmla="*/ 2147483646 w 123"/>
                    <a:gd name="T9" fmla="*/ 2147483646 h 123"/>
                    <a:gd name="T10" fmla="*/ 2147483646 w 123"/>
                    <a:gd name="T11" fmla="*/ 2147483646 h 123"/>
                    <a:gd name="T12" fmla="*/ 2147483646 w 123"/>
                    <a:gd name="T13" fmla="*/ 2147483646 h 123"/>
                    <a:gd name="T14" fmla="*/ 2147483646 w 123"/>
                    <a:gd name="T15" fmla="*/ 2147483646 h 123"/>
                    <a:gd name="T16" fmla="*/ 2147483646 w 123"/>
                    <a:gd name="T17" fmla="*/ 0 h 123"/>
                    <a:gd name="T18" fmla="*/ 2147483646 w 123"/>
                    <a:gd name="T19" fmla="*/ 2147483646 h 123"/>
                    <a:gd name="T20" fmla="*/ 2147483646 w 123"/>
                    <a:gd name="T21" fmla="*/ 2147483646 h 123"/>
                    <a:gd name="T22" fmla="*/ 2147483646 w 123"/>
                    <a:gd name="T23" fmla="*/ 2147483646 h 123"/>
                    <a:gd name="T24" fmla="*/ 2147483646 w 123"/>
                    <a:gd name="T25" fmla="*/ 2147483646 h 123"/>
                    <a:gd name="T26" fmla="*/ 2147483646 w 123"/>
                    <a:gd name="T27" fmla="*/ 2147483646 h 123"/>
                    <a:gd name="T28" fmla="*/ 2147483646 w 123"/>
                    <a:gd name="T29" fmla="*/ 2147483646 h 123"/>
                    <a:gd name="T30" fmla="*/ 2147483646 w 123"/>
                    <a:gd name="T31" fmla="*/ 2147483646 h 123"/>
                    <a:gd name="T32" fmla="*/ 2147483646 w 123"/>
                    <a:gd name="T33" fmla="*/ 2147483646 h 123"/>
                    <a:gd name="T34" fmla="*/ 2147483646 w 123"/>
                    <a:gd name="T35" fmla="*/ 2147483646 h 123"/>
                    <a:gd name="T36" fmla="*/ 2147483646 w 123"/>
                    <a:gd name="T37" fmla="*/ 2147483646 h 123"/>
                    <a:gd name="T38" fmla="*/ 2147483646 w 123"/>
                    <a:gd name="T39" fmla="*/ 2147483646 h 123"/>
                    <a:gd name="T40" fmla="*/ 2147483646 w 123"/>
                    <a:gd name="T41" fmla="*/ 2147483646 h 123"/>
                    <a:gd name="T42" fmla="*/ 2147483646 w 123"/>
                    <a:gd name="T43" fmla="*/ 2147483646 h 123"/>
                    <a:gd name="T44" fmla="*/ 2147483646 w 123"/>
                    <a:gd name="T45" fmla="*/ 2147483646 h 123"/>
                    <a:gd name="T46" fmla="*/ 2147483646 w 123"/>
                    <a:gd name="T47" fmla="*/ 2147483646 h 123"/>
                    <a:gd name="T48" fmla="*/ 2147483646 w 123"/>
                    <a:gd name="T49" fmla="*/ 2147483646 h 123"/>
                    <a:gd name="T50" fmla="*/ 2147483646 w 123"/>
                    <a:gd name="T51" fmla="*/ 2147483646 h 123"/>
                    <a:gd name="T52" fmla="*/ 2147483646 w 123"/>
                    <a:gd name="T53" fmla="*/ 2147483646 h 123"/>
                    <a:gd name="T54" fmla="*/ 2147483646 w 123"/>
                    <a:gd name="T55" fmla="*/ 2147483646 h 123"/>
                    <a:gd name="T56" fmla="*/ 2147483646 w 123"/>
                    <a:gd name="T57" fmla="*/ 2147483646 h 123"/>
                    <a:gd name="T58" fmla="*/ 2147483646 w 123"/>
                    <a:gd name="T59" fmla="*/ 2147483646 h 123"/>
                    <a:gd name="T60" fmla="*/ 0 w 123"/>
                    <a:gd name="T61" fmla="*/ 2147483646 h 123"/>
                    <a:gd name="T62" fmla="*/ 2147483646 w 123"/>
                    <a:gd name="T63" fmla="*/ 2147483646 h 123"/>
                    <a:gd name="T64" fmla="*/ 2147483646 w 123"/>
                    <a:gd name="T65" fmla="*/ 2147483646 h 123"/>
                    <a:gd name="T66" fmla="*/ 2147483646 w 123"/>
                    <a:gd name="T67" fmla="*/ 2147483646 h 123"/>
                    <a:gd name="T68" fmla="*/ 2147483646 w 123"/>
                    <a:gd name="T69" fmla="*/ 2147483646 h 123"/>
                    <a:gd name="T70" fmla="*/ 2147483646 w 123"/>
                    <a:gd name="T71" fmla="*/ 2147483646 h 123"/>
                    <a:gd name="T72" fmla="*/ 2147483646 w 123"/>
                    <a:gd name="T73" fmla="*/ 2147483646 h 123"/>
                    <a:gd name="T74" fmla="*/ 2147483646 w 123"/>
                    <a:gd name="T75" fmla="*/ 2147483646 h 123"/>
                    <a:gd name="T76" fmla="*/ 2147483646 w 123"/>
                    <a:gd name="T77" fmla="*/ 0 h 12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3"/>
                    <a:gd name="T118" fmla="*/ 0 h 123"/>
                    <a:gd name="T119" fmla="*/ 123 w 123"/>
                    <a:gd name="T120" fmla="*/ 123 h 12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3" h="123">
                      <a:moveTo>
                        <a:pt x="59" y="28"/>
                      </a:moveTo>
                      <a:lnTo>
                        <a:pt x="46" y="30"/>
                      </a:lnTo>
                      <a:lnTo>
                        <a:pt x="36" y="38"/>
                      </a:lnTo>
                      <a:lnTo>
                        <a:pt x="29" y="50"/>
                      </a:lnTo>
                      <a:lnTo>
                        <a:pt x="27" y="64"/>
                      </a:lnTo>
                      <a:lnTo>
                        <a:pt x="30" y="77"/>
                      </a:lnTo>
                      <a:lnTo>
                        <a:pt x="38" y="88"/>
                      </a:lnTo>
                      <a:lnTo>
                        <a:pt x="50" y="94"/>
                      </a:lnTo>
                      <a:lnTo>
                        <a:pt x="63" y="97"/>
                      </a:lnTo>
                      <a:lnTo>
                        <a:pt x="78" y="93"/>
                      </a:lnTo>
                      <a:lnTo>
                        <a:pt x="88" y="85"/>
                      </a:lnTo>
                      <a:lnTo>
                        <a:pt x="95" y="73"/>
                      </a:lnTo>
                      <a:lnTo>
                        <a:pt x="96" y="60"/>
                      </a:lnTo>
                      <a:lnTo>
                        <a:pt x="93" y="46"/>
                      </a:lnTo>
                      <a:lnTo>
                        <a:pt x="84" y="35"/>
                      </a:lnTo>
                      <a:lnTo>
                        <a:pt x="74" y="29"/>
                      </a:lnTo>
                      <a:lnTo>
                        <a:pt x="59" y="28"/>
                      </a:lnTo>
                      <a:close/>
                      <a:moveTo>
                        <a:pt x="66" y="0"/>
                      </a:moveTo>
                      <a:lnTo>
                        <a:pt x="67" y="12"/>
                      </a:lnTo>
                      <a:lnTo>
                        <a:pt x="72" y="13"/>
                      </a:lnTo>
                      <a:lnTo>
                        <a:pt x="78" y="15"/>
                      </a:lnTo>
                      <a:lnTo>
                        <a:pt x="83" y="3"/>
                      </a:lnTo>
                      <a:lnTo>
                        <a:pt x="96" y="11"/>
                      </a:lnTo>
                      <a:lnTo>
                        <a:pt x="91" y="21"/>
                      </a:lnTo>
                      <a:lnTo>
                        <a:pt x="95" y="25"/>
                      </a:lnTo>
                      <a:lnTo>
                        <a:pt x="99" y="28"/>
                      </a:lnTo>
                      <a:lnTo>
                        <a:pt x="109" y="21"/>
                      </a:lnTo>
                      <a:lnTo>
                        <a:pt x="117" y="34"/>
                      </a:lnTo>
                      <a:lnTo>
                        <a:pt x="108" y="41"/>
                      </a:lnTo>
                      <a:lnTo>
                        <a:pt x="109" y="46"/>
                      </a:lnTo>
                      <a:lnTo>
                        <a:pt x="110" y="51"/>
                      </a:lnTo>
                      <a:lnTo>
                        <a:pt x="123" y="51"/>
                      </a:lnTo>
                      <a:lnTo>
                        <a:pt x="123" y="66"/>
                      </a:lnTo>
                      <a:lnTo>
                        <a:pt x="112" y="67"/>
                      </a:lnTo>
                      <a:lnTo>
                        <a:pt x="110" y="72"/>
                      </a:lnTo>
                      <a:lnTo>
                        <a:pt x="109" y="77"/>
                      </a:lnTo>
                      <a:lnTo>
                        <a:pt x="121" y="83"/>
                      </a:lnTo>
                      <a:lnTo>
                        <a:pt x="113" y="97"/>
                      </a:lnTo>
                      <a:lnTo>
                        <a:pt x="102" y="90"/>
                      </a:lnTo>
                      <a:lnTo>
                        <a:pt x="99" y="96"/>
                      </a:lnTo>
                      <a:lnTo>
                        <a:pt x="95" y="98"/>
                      </a:lnTo>
                      <a:lnTo>
                        <a:pt x="102" y="109"/>
                      </a:lnTo>
                      <a:lnTo>
                        <a:pt x="89" y="118"/>
                      </a:lnTo>
                      <a:lnTo>
                        <a:pt x="83" y="108"/>
                      </a:lnTo>
                      <a:lnTo>
                        <a:pt x="78" y="109"/>
                      </a:lnTo>
                      <a:lnTo>
                        <a:pt x="72" y="110"/>
                      </a:lnTo>
                      <a:lnTo>
                        <a:pt x="72" y="123"/>
                      </a:lnTo>
                      <a:lnTo>
                        <a:pt x="58" y="123"/>
                      </a:lnTo>
                      <a:lnTo>
                        <a:pt x="57" y="111"/>
                      </a:lnTo>
                      <a:lnTo>
                        <a:pt x="51" y="111"/>
                      </a:lnTo>
                      <a:lnTo>
                        <a:pt x="46" y="109"/>
                      </a:lnTo>
                      <a:lnTo>
                        <a:pt x="41" y="121"/>
                      </a:lnTo>
                      <a:lnTo>
                        <a:pt x="27" y="113"/>
                      </a:lnTo>
                      <a:lnTo>
                        <a:pt x="33" y="102"/>
                      </a:lnTo>
                      <a:lnTo>
                        <a:pt x="28" y="100"/>
                      </a:lnTo>
                      <a:lnTo>
                        <a:pt x="24" y="96"/>
                      </a:lnTo>
                      <a:lnTo>
                        <a:pt x="15" y="102"/>
                      </a:lnTo>
                      <a:lnTo>
                        <a:pt x="6" y="89"/>
                      </a:lnTo>
                      <a:lnTo>
                        <a:pt x="16" y="83"/>
                      </a:lnTo>
                      <a:lnTo>
                        <a:pt x="15" y="77"/>
                      </a:lnTo>
                      <a:lnTo>
                        <a:pt x="12" y="72"/>
                      </a:lnTo>
                      <a:lnTo>
                        <a:pt x="0" y="73"/>
                      </a:lnTo>
                      <a:lnTo>
                        <a:pt x="0" y="58"/>
                      </a:lnTo>
                      <a:lnTo>
                        <a:pt x="12" y="56"/>
                      </a:lnTo>
                      <a:lnTo>
                        <a:pt x="12" y="51"/>
                      </a:lnTo>
                      <a:lnTo>
                        <a:pt x="13" y="46"/>
                      </a:lnTo>
                      <a:lnTo>
                        <a:pt x="3" y="41"/>
                      </a:lnTo>
                      <a:lnTo>
                        <a:pt x="9" y="28"/>
                      </a:lnTo>
                      <a:lnTo>
                        <a:pt x="21" y="33"/>
                      </a:lnTo>
                      <a:lnTo>
                        <a:pt x="24" y="29"/>
                      </a:lnTo>
                      <a:lnTo>
                        <a:pt x="28" y="25"/>
                      </a:lnTo>
                      <a:lnTo>
                        <a:pt x="21" y="15"/>
                      </a:lnTo>
                      <a:lnTo>
                        <a:pt x="34" y="7"/>
                      </a:lnTo>
                      <a:lnTo>
                        <a:pt x="41" y="16"/>
                      </a:lnTo>
                      <a:lnTo>
                        <a:pt x="46" y="15"/>
                      </a:lnTo>
                      <a:lnTo>
                        <a:pt x="51" y="13"/>
                      </a:lnTo>
                      <a:lnTo>
                        <a:pt x="50" y="0"/>
                      </a:lnTo>
                      <a:lnTo>
                        <a:pt x="66" y="0"/>
                      </a:lnTo>
                      <a:close/>
                    </a:path>
                  </a:pathLst>
                </a:custGeom>
                <a:solidFill>
                  <a:srgbClr val="1BAE96"/>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s-ES"/>
                </a:p>
              </p:txBody>
            </p:sp>
            <p:sp>
              <p:nvSpPr>
                <p:cNvPr id="66" name="Freeform 226">
                  <a:extLst>
                    <a:ext uri="{FF2B5EF4-FFF2-40B4-BE49-F238E27FC236}">
                      <a16:creationId xmlns:a16="http://schemas.microsoft.com/office/drawing/2014/main" id="{DEB98D9D-130C-4320-B024-08FDE9DDA523}"/>
                    </a:ext>
                  </a:extLst>
                </p:cNvPr>
                <p:cNvSpPr>
                  <a:spLocks/>
                </p:cNvSpPr>
                <p:nvPr/>
              </p:nvSpPr>
              <p:spPr bwMode="auto">
                <a:xfrm>
                  <a:off x="2830485" y="3298593"/>
                  <a:ext cx="49213" cy="47630"/>
                </a:xfrm>
                <a:custGeom>
                  <a:avLst/>
                  <a:gdLst>
                    <a:gd name="T0" fmla="*/ 2147483646 w 35"/>
                    <a:gd name="T1" fmla="*/ 0 h 35"/>
                    <a:gd name="T2" fmla="*/ 2147483646 w 35"/>
                    <a:gd name="T3" fmla="*/ 0 h 35"/>
                    <a:gd name="T4" fmla="*/ 2147483646 w 35"/>
                    <a:gd name="T5" fmla="*/ 2147483646 h 35"/>
                    <a:gd name="T6" fmla="*/ 2147483646 w 35"/>
                    <a:gd name="T7" fmla="*/ 2147483646 h 35"/>
                    <a:gd name="T8" fmla="*/ 2147483646 w 35"/>
                    <a:gd name="T9" fmla="*/ 2147483646 h 35"/>
                    <a:gd name="T10" fmla="*/ 2147483646 w 35"/>
                    <a:gd name="T11" fmla="*/ 2147483646 h 35"/>
                    <a:gd name="T12" fmla="*/ 2147483646 w 35"/>
                    <a:gd name="T13" fmla="*/ 2147483646 h 35"/>
                    <a:gd name="T14" fmla="*/ 2147483646 w 35"/>
                    <a:gd name="T15" fmla="*/ 2147483646 h 35"/>
                    <a:gd name="T16" fmla="*/ 2147483646 w 35"/>
                    <a:gd name="T17" fmla="*/ 2147483646 h 35"/>
                    <a:gd name="T18" fmla="*/ 2147483646 w 35"/>
                    <a:gd name="T19" fmla="*/ 2147483646 h 35"/>
                    <a:gd name="T20" fmla="*/ 2147483646 w 35"/>
                    <a:gd name="T21" fmla="*/ 2147483646 h 35"/>
                    <a:gd name="T22" fmla="*/ 2147483646 w 35"/>
                    <a:gd name="T23" fmla="*/ 2147483646 h 35"/>
                    <a:gd name="T24" fmla="*/ 2147483646 w 35"/>
                    <a:gd name="T25" fmla="*/ 2147483646 h 35"/>
                    <a:gd name="T26" fmla="*/ 2147483646 w 35"/>
                    <a:gd name="T27" fmla="*/ 2147483646 h 35"/>
                    <a:gd name="T28" fmla="*/ 2147483646 w 35"/>
                    <a:gd name="T29" fmla="*/ 2147483646 h 35"/>
                    <a:gd name="T30" fmla="*/ 0 w 35"/>
                    <a:gd name="T31" fmla="*/ 2147483646 h 35"/>
                    <a:gd name="T32" fmla="*/ 2147483646 w 35"/>
                    <a:gd name="T33" fmla="*/ 2147483646 h 35"/>
                    <a:gd name="T34" fmla="*/ 2147483646 w 35"/>
                    <a:gd name="T35" fmla="*/ 2147483646 h 35"/>
                    <a:gd name="T36" fmla="*/ 2147483646 w 35"/>
                    <a:gd name="T37" fmla="*/ 2147483646 h 35"/>
                    <a:gd name="T38" fmla="*/ 2147483646 w 35"/>
                    <a:gd name="T39" fmla="*/ 2147483646 h 35"/>
                    <a:gd name="T40" fmla="*/ 2147483646 w 35"/>
                    <a:gd name="T41" fmla="*/ 0 h 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
                    <a:gd name="T64" fmla="*/ 0 h 35"/>
                    <a:gd name="T65" fmla="*/ 35 w 35"/>
                    <a:gd name="T66" fmla="*/ 35 h 3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 h="35">
                      <a:moveTo>
                        <a:pt x="17" y="0"/>
                      </a:moveTo>
                      <a:lnTo>
                        <a:pt x="22" y="0"/>
                      </a:lnTo>
                      <a:lnTo>
                        <a:pt x="27" y="2"/>
                      </a:lnTo>
                      <a:lnTo>
                        <a:pt x="31" y="6"/>
                      </a:lnTo>
                      <a:lnTo>
                        <a:pt x="34" y="10"/>
                      </a:lnTo>
                      <a:lnTo>
                        <a:pt x="35" y="15"/>
                      </a:lnTo>
                      <a:lnTo>
                        <a:pt x="35" y="22"/>
                      </a:lnTo>
                      <a:lnTo>
                        <a:pt x="32" y="26"/>
                      </a:lnTo>
                      <a:lnTo>
                        <a:pt x="28" y="30"/>
                      </a:lnTo>
                      <a:lnTo>
                        <a:pt x="24" y="34"/>
                      </a:lnTo>
                      <a:lnTo>
                        <a:pt x="19" y="35"/>
                      </a:lnTo>
                      <a:lnTo>
                        <a:pt x="13" y="34"/>
                      </a:lnTo>
                      <a:lnTo>
                        <a:pt x="9" y="31"/>
                      </a:lnTo>
                      <a:lnTo>
                        <a:pt x="3" y="28"/>
                      </a:lnTo>
                      <a:lnTo>
                        <a:pt x="1" y="23"/>
                      </a:lnTo>
                      <a:lnTo>
                        <a:pt x="0" y="18"/>
                      </a:lnTo>
                      <a:lnTo>
                        <a:pt x="1" y="13"/>
                      </a:lnTo>
                      <a:lnTo>
                        <a:pt x="3" y="8"/>
                      </a:lnTo>
                      <a:lnTo>
                        <a:pt x="6" y="4"/>
                      </a:lnTo>
                      <a:lnTo>
                        <a:pt x="11" y="1"/>
                      </a:lnTo>
                      <a:lnTo>
                        <a:pt x="17" y="0"/>
                      </a:lnTo>
                      <a:close/>
                    </a:path>
                  </a:pathLst>
                </a:custGeom>
                <a:solidFill>
                  <a:srgbClr val="1BAE96"/>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s-ES"/>
                </a:p>
              </p:txBody>
            </p:sp>
            <p:sp>
              <p:nvSpPr>
                <p:cNvPr id="67" name="Freeform 227">
                  <a:extLst>
                    <a:ext uri="{FF2B5EF4-FFF2-40B4-BE49-F238E27FC236}">
                      <a16:creationId xmlns:a16="http://schemas.microsoft.com/office/drawing/2014/main" id="{91C0C7D9-E392-4BBA-8C16-C391F568F760}"/>
                    </a:ext>
                  </a:extLst>
                </p:cNvPr>
                <p:cNvSpPr>
                  <a:spLocks noEditPoints="1"/>
                </p:cNvSpPr>
                <p:nvPr/>
              </p:nvSpPr>
              <p:spPr bwMode="auto">
                <a:xfrm>
                  <a:off x="2485998" y="3924136"/>
                  <a:ext cx="193675" cy="193696"/>
                </a:xfrm>
                <a:custGeom>
                  <a:avLst/>
                  <a:gdLst>
                    <a:gd name="T0" fmla="*/ 52 w 139"/>
                    <a:gd name="T1" fmla="*/ 34 h 139"/>
                    <a:gd name="T2" fmla="*/ 33 w 139"/>
                    <a:gd name="T3" fmla="*/ 57 h 139"/>
                    <a:gd name="T4" fmla="*/ 34 w 139"/>
                    <a:gd name="T5" fmla="*/ 87 h 139"/>
                    <a:gd name="T6" fmla="*/ 56 w 139"/>
                    <a:gd name="T7" fmla="*/ 106 h 139"/>
                    <a:gd name="T8" fmla="*/ 86 w 139"/>
                    <a:gd name="T9" fmla="*/ 104 h 139"/>
                    <a:gd name="T10" fmla="*/ 106 w 139"/>
                    <a:gd name="T11" fmla="*/ 83 h 139"/>
                    <a:gd name="T12" fmla="*/ 105 w 139"/>
                    <a:gd name="T13" fmla="*/ 53 h 139"/>
                    <a:gd name="T14" fmla="*/ 83 w 139"/>
                    <a:gd name="T15" fmla="*/ 33 h 139"/>
                    <a:gd name="T16" fmla="*/ 75 w 139"/>
                    <a:gd name="T17" fmla="*/ 0 h 139"/>
                    <a:gd name="T18" fmla="*/ 81 w 139"/>
                    <a:gd name="T19" fmla="*/ 15 h 139"/>
                    <a:gd name="T20" fmla="*/ 93 w 139"/>
                    <a:gd name="T21" fmla="*/ 4 h 139"/>
                    <a:gd name="T22" fmla="*/ 102 w 139"/>
                    <a:gd name="T23" fmla="*/ 24 h 139"/>
                    <a:gd name="T24" fmla="*/ 111 w 139"/>
                    <a:gd name="T25" fmla="*/ 32 h 139"/>
                    <a:gd name="T26" fmla="*/ 132 w 139"/>
                    <a:gd name="T27" fmla="*/ 38 h 139"/>
                    <a:gd name="T28" fmla="*/ 123 w 139"/>
                    <a:gd name="T29" fmla="*/ 51 h 139"/>
                    <a:gd name="T30" fmla="*/ 138 w 139"/>
                    <a:gd name="T31" fmla="*/ 57 h 139"/>
                    <a:gd name="T32" fmla="*/ 126 w 139"/>
                    <a:gd name="T33" fmla="*/ 75 h 139"/>
                    <a:gd name="T34" fmla="*/ 123 w 139"/>
                    <a:gd name="T35" fmla="*/ 87 h 139"/>
                    <a:gd name="T36" fmla="*/ 127 w 139"/>
                    <a:gd name="T37" fmla="*/ 108 h 139"/>
                    <a:gd name="T38" fmla="*/ 111 w 139"/>
                    <a:gd name="T39" fmla="*/ 106 h 139"/>
                    <a:gd name="T40" fmla="*/ 114 w 139"/>
                    <a:gd name="T41" fmla="*/ 122 h 139"/>
                    <a:gd name="T42" fmla="*/ 93 w 139"/>
                    <a:gd name="T43" fmla="*/ 121 h 139"/>
                    <a:gd name="T44" fmla="*/ 81 w 139"/>
                    <a:gd name="T45" fmla="*/ 124 h 139"/>
                    <a:gd name="T46" fmla="*/ 64 w 139"/>
                    <a:gd name="T47" fmla="*/ 139 h 139"/>
                    <a:gd name="T48" fmla="*/ 58 w 139"/>
                    <a:gd name="T49" fmla="*/ 125 h 139"/>
                    <a:gd name="T50" fmla="*/ 46 w 139"/>
                    <a:gd name="T51" fmla="*/ 135 h 139"/>
                    <a:gd name="T52" fmla="*/ 37 w 139"/>
                    <a:gd name="T53" fmla="*/ 114 h 139"/>
                    <a:gd name="T54" fmla="*/ 27 w 139"/>
                    <a:gd name="T55" fmla="*/ 106 h 139"/>
                    <a:gd name="T56" fmla="*/ 7 w 139"/>
                    <a:gd name="T57" fmla="*/ 100 h 139"/>
                    <a:gd name="T58" fmla="*/ 16 w 139"/>
                    <a:gd name="T59" fmla="*/ 87 h 139"/>
                    <a:gd name="T60" fmla="*/ 1 w 139"/>
                    <a:gd name="T61" fmla="*/ 82 h 139"/>
                    <a:gd name="T62" fmla="*/ 13 w 139"/>
                    <a:gd name="T63" fmla="*/ 63 h 139"/>
                    <a:gd name="T64" fmla="*/ 16 w 139"/>
                    <a:gd name="T65" fmla="*/ 51 h 139"/>
                    <a:gd name="T66" fmla="*/ 12 w 139"/>
                    <a:gd name="T67" fmla="*/ 31 h 139"/>
                    <a:gd name="T68" fmla="*/ 27 w 139"/>
                    <a:gd name="T69" fmla="*/ 32 h 139"/>
                    <a:gd name="T70" fmla="*/ 25 w 139"/>
                    <a:gd name="T71" fmla="*/ 16 h 139"/>
                    <a:gd name="T72" fmla="*/ 46 w 139"/>
                    <a:gd name="T73" fmla="*/ 19 h 139"/>
                    <a:gd name="T74" fmla="*/ 58 w 139"/>
                    <a:gd name="T75" fmla="*/ 15 h 139"/>
                    <a:gd name="T76" fmla="*/ 75 w 139"/>
                    <a:gd name="T77"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139">
                      <a:moveTo>
                        <a:pt x="67" y="31"/>
                      </a:moveTo>
                      <a:lnTo>
                        <a:pt x="52" y="34"/>
                      </a:lnTo>
                      <a:lnTo>
                        <a:pt x="41" y="44"/>
                      </a:lnTo>
                      <a:lnTo>
                        <a:pt x="33" y="57"/>
                      </a:lnTo>
                      <a:lnTo>
                        <a:pt x="30" y="71"/>
                      </a:lnTo>
                      <a:lnTo>
                        <a:pt x="34" y="87"/>
                      </a:lnTo>
                      <a:lnTo>
                        <a:pt x="43" y="99"/>
                      </a:lnTo>
                      <a:lnTo>
                        <a:pt x="56" y="106"/>
                      </a:lnTo>
                      <a:lnTo>
                        <a:pt x="72" y="108"/>
                      </a:lnTo>
                      <a:lnTo>
                        <a:pt x="86" y="104"/>
                      </a:lnTo>
                      <a:lnTo>
                        <a:pt x="98" y="95"/>
                      </a:lnTo>
                      <a:lnTo>
                        <a:pt x="106" y="83"/>
                      </a:lnTo>
                      <a:lnTo>
                        <a:pt x="109" y="67"/>
                      </a:lnTo>
                      <a:lnTo>
                        <a:pt x="105" y="53"/>
                      </a:lnTo>
                      <a:lnTo>
                        <a:pt x="96" y="40"/>
                      </a:lnTo>
                      <a:lnTo>
                        <a:pt x="83" y="33"/>
                      </a:lnTo>
                      <a:lnTo>
                        <a:pt x="67" y="31"/>
                      </a:lnTo>
                      <a:close/>
                      <a:moveTo>
                        <a:pt x="75" y="0"/>
                      </a:moveTo>
                      <a:lnTo>
                        <a:pt x="75" y="14"/>
                      </a:lnTo>
                      <a:lnTo>
                        <a:pt x="81" y="15"/>
                      </a:lnTo>
                      <a:lnTo>
                        <a:pt x="86" y="16"/>
                      </a:lnTo>
                      <a:lnTo>
                        <a:pt x="93" y="4"/>
                      </a:lnTo>
                      <a:lnTo>
                        <a:pt x="109" y="11"/>
                      </a:lnTo>
                      <a:lnTo>
                        <a:pt x="102" y="24"/>
                      </a:lnTo>
                      <a:lnTo>
                        <a:pt x="107" y="28"/>
                      </a:lnTo>
                      <a:lnTo>
                        <a:pt x="111" y="32"/>
                      </a:lnTo>
                      <a:lnTo>
                        <a:pt x="123" y="24"/>
                      </a:lnTo>
                      <a:lnTo>
                        <a:pt x="132" y="38"/>
                      </a:lnTo>
                      <a:lnTo>
                        <a:pt x="120" y="46"/>
                      </a:lnTo>
                      <a:lnTo>
                        <a:pt x="123" y="51"/>
                      </a:lnTo>
                      <a:lnTo>
                        <a:pt x="124" y="58"/>
                      </a:lnTo>
                      <a:lnTo>
                        <a:pt x="138" y="57"/>
                      </a:lnTo>
                      <a:lnTo>
                        <a:pt x="139" y="74"/>
                      </a:lnTo>
                      <a:lnTo>
                        <a:pt x="126" y="75"/>
                      </a:lnTo>
                      <a:lnTo>
                        <a:pt x="124" y="80"/>
                      </a:lnTo>
                      <a:lnTo>
                        <a:pt x="123" y="87"/>
                      </a:lnTo>
                      <a:lnTo>
                        <a:pt x="135" y="92"/>
                      </a:lnTo>
                      <a:lnTo>
                        <a:pt x="127" y="108"/>
                      </a:lnTo>
                      <a:lnTo>
                        <a:pt x="115" y="103"/>
                      </a:lnTo>
                      <a:lnTo>
                        <a:pt x="111" y="106"/>
                      </a:lnTo>
                      <a:lnTo>
                        <a:pt x="107" y="110"/>
                      </a:lnTo>
                      <a:lnTo>
                        <a:pt x="114" y="122"/>
                      </a:lnTo>
                      <a:lnTo>
                        <a:pt x="100" y="131"/>
                      </a:lnTo>
                      <a:lnTo>
                        <a:pt x="93" y="121"/>
                      </a:lnTo>
                      <a:lnTo>
                        <a:pt x="86" y="122"/>
                      </a:lnTo>
                      <a:lnTo>
                        <a:pt x="81" y="124"/>
                      </a:lnTo>
                      <a:lnTo>
                        <a:pt x="83" y="138"/>
                      </a:lnTo>
                      <a:lnTo>
                        <a:pt x="64" y="139"/>
                      </a:lnTo>
                      <a:lnTo>
                        <a:pt x="64" y="125"/>
                      </a:lnTo>
                      <a:lnTo>
                        <a:pt x="58" y="125"/>
                      </a:lnTo>
                      <a:lnTo>
                        <a:pt x="52" y="122"/>
                      </a:lnTo>
                      <a:lnTo>
                        <a:pt x="46" y="135"/>
                      </a:lnTo>
                      <a:lnTo>
                        <a:pt x="30" y="127"/>
                      </a:lnTo>
                      <a:lnTo>
                        <a:pt x="37" y="114"/>
                      </a:lnTo>
                      <a:lnTo>
                        <a:pt x="31" y="112"/>
                      </a:lnTo>
                      <a:lnTo>
                        <a:pt x="27" y="106"/>
                      </a:lnTo>
                      <a:lnTo>
                        <a:pt x="16" y="114"/>
                      </a:lnTo>
                      <a:lnTo>
                        <a:pt x="7" y="100"/>
                      </a:lnTo>
                      <a:lnTo>
                        <a:pt x="18" y="92"/>
                      </a:lnTo>
                      <a:lnTo>
                        <a:pt x="16" y="87"/>
                      </a:lnTo>
                      <a:lnTo>
                        <a:pt x="14" y="82"/>
                      </a:lnTo>
                      <a:lnTo>
                        <a:pt x="1" y="82"/>
                      </a:lnTo>
                      <a:lnTo>
                        <a:pt x="0" y="65"/>
                      </a:lnTo>
                      <a:lnTo>
                        <a:pt x="13" y="63"/>
                      </a:lnTo>
                      <a:lnTo>
                        <a:pt x="14" y="58"/>
                      </a:lnTo>
                      <a:lnTo>
                        <a:pt x="16" y="51"/>
                      </a:lnTo>
                      <a:lnTo>
                        <a:pt x="4" y="46"/>
                      </a:lnTo>
                      <a:lnTo>
                        <a:pt x="12" y="31"/>
                      </a:lnTo>
                      <a:lnTo>
                        <a:pt x="24" y="37"/>
                      </a:lnTo>
                      <a:lnTo>
                        <a:pt x="27" y="32"/>
                      </a:lnTo>
                      <a:lnTo>
                        <a:pt x="31" y="28"/>
                      </a:lnTo>
                      <a:lnTo>
                        <a:pt x="25" y="16"/>
                      </a:lnTo>
                      <a:lnTo>
                        <a:pt x="39" y="7"/>
                      </a:lnTo>
                      <a:lnTo>
                        <a:pt x="46" y="19"/>
                      </a:lnTo>
                      <a:lnTo>
                        <a:pt x="52" y="16"/>
                      </a:lnTo>
                      <a:lnTo>
                        <a:pt x="58" y="15"/>
                      </a:lnTo>
                      <a:lnTo>
                        <a:pt x="56" y="0"/>
                      </a:lnTo>
                      <a:lnTo>
                        <a:pt x="75" y="0"/>
                      </a:lnTo>
                      <a:close/>
                    </a:path>
                  </a:pathLst>
                </a:custGeom>
                <a:solidFill>
                  <a:srgbClr val="9F3D34"/>
                </a:solidFill>
                <a:ln w="0">
                  <a:noFill/>
                  <a:prstDash val="solid"/>
                  <a:round/>
                  <a:headEnd/>
                  <a:tailEnd/>
                </a:ln>
              </p:spPr>
              <p:txBody>
                <a:bodyPr/>
                <a:lstStyle/>
                <a:p>
                  <a:pPr eaLnBrk="1" fontAlgn="auto" hangingPunct="1">
                    <a:spcBef>
                      <a:spcPts val="0"/>
                    </a:spcBef>
                    <a:spcAft>
                      <a:spcPts val="0"/>
                    </a:spcAft>
                    <a:defRPr/>
                  </a:pPr>
                  <a:endParaRPr lang="en-US" dirty="0">
                    <a:latin typeface="+mn-lt"/>
                    <a:cs typeface="+mn-cs"/>
                  </a:endParaRPr>
                </a:p>
              </p:txBody>
            </p:sp>
            <p:sp>
              <p:nvSpPr>
                <p:cNvPr id="68" name="Freeform 228">
                  <a:extLst>
                    <a:ext uri="{FF2B5EF4-FFF2-40B4-BE49-F238E27FC236}">
                      <a16:creationId xmlns:a16="http://schemas.microsoft.com/office/drawing/2014/main" id="{799A7F7E-1C69-4897-8C61-98F2CF6C1B93}"/>
                    </a:ext>
                  </a:extLst>
                </p:cNvPr>
                <p:cNvSpPr>
                  <a:spLocks/>
                </p:cNvSpPr>
                <p:nvPr/>
              </p:nvSpPr>
              <p:spPr bwMode="auto">
                <a:xfrm>
                  <a:off x="2555848" y="3993994"/>
                  <a:ext cx="53975" cy="53981"/>
                </a:xfrm>
                <a:custGeom>
                  <a:avLst/>
                  <a:gdLst>
                    <a:gd name="T0" fmla="*/ 18 w 39"/>
                    <a:gd name="T1" fmla="*/ 0 h 39"/>
                    <a:gd name="T2" fmla="*/ 23 w 39"/>
                    <a:gd name="T3" fmla="*/ 0 h 39"/>
                    <a:gd name="T4" fmla="*/ 29 w 39"/>
                    <a:gd name="T5" fmla="*/ 1 h 39"/>
                    <a:gd name="T6" fmla="*/ 33 w 39"/>
                    <a:gd name="T7" fmla="*/ 4 h 39"/>
                    <a:gd name="T8" fmla="*/ 36 w 39"/>
                    <a:gd name="T9" fmla="*/ 8 h 39"/>
                    <a:gd name="T10" fmla="*/ 38 w 39"/>
                    <a:gd name="T11" fmla="*/ 13 h 39"/>
                    <a:gd name="T12" fmla="*/ 39 w 39"/>
                    <a:gd name="T13" fmla="*/ 19 h 39"/>
                    <a:gd name="T14" fmla="*/ 39 w 39"/>
                    <a:gd name="T15" fmla="*/ 24 h 39"/>
                    <a:gd name="T16" fmla="*/ 36 w 39"/>
                    <a:gd name="T17" fmla="*/ 28 h 39"/>
                    <a:gd name="T18" fmla="*/ 34 w 39"/>
                    <a:gd name="T19" fmla="*/ 33 h 39"/>
                    <a:gd name="T20" fmla="*/ 30 w 39"/>
                    <a:gd name="T21" fmla="*/ 36 h 39"/>
                    <a:gd name="T22" fmla="*/ 26 w 39"/>
                    <a:gd name="T23" fmla="*/ 38 h 39"/>
                    <a:gd name="T24" fmla="*/ 21 w 39"/>
                    <a:gd name="T25" fmla="*/ 39 h 39"/>
                    <a:gd name="T26" fmla="*/ 15 w 39"/>
                    <a:gd name="T27" fmla="*/ 38 h 39"/>
                    <a:gd name="T28" fmla="*/ 10 w 39"/>
                    <a:gd name="T29" fmla="*/ 37 h 39"/>
                    <a:gd name="T30" fmla="*/ 6 w 39"/>
                    <a:gd name="T31" fmla="*/ 34 h 39"/>
                    <a:gd name="T32" fmla="*/ 2 w 39"/>
                    <a:gd name="T33" fmla="*/ 30 h 39"/>
                    <a:gd name="T34" fmla="*/ 1 w 39"/>
                    <a:gd name="T35" fmla="*/ 25 h 39"/>
                    <a:gd name="T36" fmla="*/ 0 w 39"/>
                    <a:gd name="T37" fmla="*/ 20 h 39"/>
                    <a:gd name="T38" fmla="*/ 0 w 39"/>
                    <a:gd name="T39" fmla="*/ 15 h 39"/>
                    <a:gd name="T40" fmla="*/ 2 w 39"/>
                    <a:gd name="T41" fmla="*/ 11 h 39"/>
                    <a:gd name="T42" fmla="*/ 5 w 39"/>
                    <a:gd name="T43" fmla="*/ 7 h 39"/>
                    <a:gd name="T44" fmla="*/ 9 w 39"/>
                    <a:gd name="T45" fmla="*/ 3 h 39"/>
                    <a:gd name="T46" fmla="*/ 13 w 39"/>
                    <a:gd name="T47" fmla="*/ 0 h 39"/>
                    <a:gd name="T48" fmla="*/ 18 w 39"/>
                    <a:gd name="T4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39">
                      <a:moveTo>
                        <a:pt x="18" y="0"/>
                      </a:moveTo>
                      <a:lnTo>
                        <a:pt x="23" y="0"/>
                      </a:lnTo>
                      <a:lnTo>
                        <a:pt x="29" y="1"/>
                      </a:lnTo>
                      <a:lnTo>
                        <a:pt x="33" y="4"/>
                      </a:lnTo>
                      <a:lnTo>
                        <a:pt x="36" y="8"/>
                      </a:lnTo>
                      <a:lnTo>
                        <a:pt x="38" y="13"/>
                      </a:lnTo>
                      <a:lnTo>
                        <a:pt x="39" y="19"/>
                      </a:lnTo>
                      <a:lnTo>
                        <a:pt x="39" y="24"/>
                      </a:lnTo>
                      <a:lnTo>
                        <a:pt x="36" y="28"/>
                      </a:lnTo>
                      <a:lnTo>
                        <a:pt x="34" y="33"/>
                      </a:lnTo>
                      <a:lnTo>
                        <a:pt x="30" y="36"/>
                      </a:lnTo>
                      <a:lnTo>
                        <a:pt x="26" y="38"/>
                      </a:lnTo>
                      <a:lnTo>
                        <a:pt x="21" y="39"/>
                      </a:lnTo>
                      <a:lnTo>
                        <a:pt x="15" y="38"/>
                      </a:lnTo>
                      <a:lnTo>
                        <a:pt x="10" y="37"/>
                      </a:lnTo>
                      <a:lnTo>
                        <a:pt x="6" y="34"/>
                      </a:lnTo>
                      <a:lnTo>
                        <a:pt x="2" y="30"/>
                      </a:lnTo>
                      <a:lnTo>
                        <a:pt x="1" y="25"/>
                      </a:lnTo>
                      <a:lnTo>
                        <a:pt x="0" y="20"/>
                      </a:lnTo>
                      <a:lnTo>
                        <a:pt x="0" y="15"/>
                      </a:lnTo>
                      <a:lnTo>
                        <a:pt x="2" y="11"/>
                      </a:lnTo>
                      <a:lnTo>
                        <a:pt x="5" y="7"/>
                      </a:lnTo>
                      <a:lnTo>
                        <a:pt x="9" y="3"/>
                      </a:lnTo>
                      <a:lnTo>
                        <a:pt x="13" y="0"/>
                      </a:lnTo>
                      <a:lnTo>
                        <a:pt x="18" y="0"/>
                      </a:lnTo>
                      <a:close/>
                    </a:path>
                  </a:pathLst>
                </a:custGeom>
                <a:solidFill>
                  <a:srgbClr val="9F3D34"/>
                </a:solidFill>
                <a:ln w="0">
                  <a:noFill/>
                  <a:prstDash val="solid"/>
                  <a:round/>
                  <a:headEnd/>
                  <a:tailEnd/>
                </a:ln>
              </p:spPr>
              <p:txBody>
                <a:bodyPr/>
                <a:lstStyle/>
                <a:p>
                  <a:pPr eaLnBrk="1" fontAlgn="auto" hangingPunct="1">
                    <a:spcBef>
                      <a:spcPts val="0"/>
                    </a:spcBef>
                    <a:spcAft>
                      <a:spcPts val="0"/>
                    </a:spcAft>
                    <a:defRPr/>
                  </a:pPr>
                  <a:endParaRPr lang="en-US" dirty="0">
                    <a:latin typeface="+mn-lt"/>
                    <a:cs typeface="+mn-cs"/>
                  </a:endParaRPr>
                </a:p>
              </p:txBody>
            </p:sp>
            <p:sp>
              <p:nvSpPr>
                <p:cNvPr id="69" name="Freeform 229">
                  <a:extLst>
                    <a:ext uri="{FF2B5EF4-FFF2-40B4-BE49-F238E27FC236}">
                      <a16:creationId xmlns:a16="http://schemas.microsoft.com/office/drawing/2014/main" id="{A6BEF76E-8846-4660-8C08-73E66AAC0890}"/>
                    </a:ext>
                  </a:extLst>
                </p:cNvPr>
                <p:cNvSpPr>
                  <a:spLocks noEditPoints="1"/>
                </p:cNvSpPr>
                <p:nvPr/>
              </p:nvSpPr>
              <p:spPr bwMode="auto">
                <a:xfrm>
                  <a:off x="1773829" y="3671984"/>
                  <a:ext cx="156995" cy="158400"/>
                </a:xfrm>
                <a:custGeom>
                  <a:avLst/>
                  <a:gdLst>
                    <a:gd name="T0" fmla="*/ 2147483646 w 113"/>
                    <a:gd name="T1" fmla="*/ 2147483646 h 114"/>
                    <a:gd name="T2" fmla="*/ 2147483646 w 113"/>
                    <a:gd name="T3" fmla="*/ 2147483646 h 114"/>
                    <a:gd name="T4" fmla="*/ 2147483646 w 113"/>
                    <a:gd name="T5" fmla="*/ 2147483646 h 114"/>
                    <a:gd name="T6" fmla="*/ 2147483646 w 113"/>
                    <a:gd name="T7" fmla="*/ 2147483646 h 114"/>
                    <a:gd name="T8" fmla="*/ 2147483646 w 113"/>
                    <a:gd name="T9" fmla="*/ 2147483646 h 114"/>
                    <a:gd name="T10" fmla="*/ 2147483646 w 113"/>
                    <a:gd name="T11" fmla="*/ 2147483646 h 114"/>
                    <a:gd name="T12" fmla="*/ 2147483646 w 113"/>
                    <a:gd name="T13" fmla="*/ 2147483646 h 114"/>
                    <a:gd name="T14" fmla="*/ 2147483646 w 113"/>
                    <a:gd name="T15" fmla="*/ 2147483646 h 114"/>
                    <a:gd name="T16" fmla="*/ 2147483646 w 113"/>
                    <a:gd name="T17" fmla="*/ 0 h 114"/>
                    <a:gd name="T18" fmla="*/ 2147483646 w 113"/>
                    <a:gd name="T19" fmla="*/ 2147483646 h 114"/>
                    <a:gd name="T20" fmla="*/ 2147483646 w 113"/>
                    <a:gd name="T21" fmla="*/ 2147483646 h 114"/>
                    <a:gd name="T22" fmla="*/ 2147483646 w 113"/>
                    <a:gd name="T23" fmla="*/ 2147483646 h 114"/>
                    <a:gd name="T24" fmla="*/ 2147483646 w 113"/>
                    <a:gd name="T25" fmla="*/ 2147483646 h 114"/>
                    <a:gd name="T26" fmla="*/ 2147483646 w 113"/>
                    <a:gd name="T27" fmla="*/ 2147483646 h 114"/>
                    <a:gd name="T28" fmla="*/ 2147483646 w 113"/>
                    <a:gd name="T29" fmla="*/ 2147483646 h 114"/>
                    <a:gd name="T30" fmla="*/ 2147483646 w 113"/>
                    <a:gd name="T31" fmla="*/ 2147483646 h 114"/>
                    <a:gd name="T32" fmla="*/ 2147483646 w 113"/>
                    <a:gd name="T33" fmla="*/ 2147483646 h 114"/>
                    <a:gd name="T34" fmla="*/ 2147483646 w 113"/>
                    <a:gd name="T35" fmla="*/ 2147483646 h 114"/>
                    <a:gd name="T36" fmla="*/ 2147483646 w 113"/>
                    <a:gd name="T37" fmla="*/ 2147483646 h 114"/>
                    <a:gd name="T38" fmla="*/ 2147483646 w 113"/>
                    <a:gd name="T39" fmla="*/ 2147483646 h 114"/>
                    <a:gd name="T40" fmla="*/ 2147483646 w 113"/>
                    <a:gd name="T41" fmla="*/ 2147483646 h 114"/>
                    <a:gd name="T42" fmla="*/ 2147483646 w 113"/>
                    <a:gd name="T43" fmla="*/ 2147483646 h 114"/>
                    <a:gd name="T44" fmla="*/ 2147483646 w 113"/>
                    <a:gd name="T45" fmla="*/ 2147483646 h 114"/>
                    <a:gd name="T46" fmla="*/ 2147483646 w 113"/>
                    <a:gd name="T47" fmla="*/ 2147483646 h 114"/>
                    <a:gd name="T48" fmla="*/ 2147483646 w 113"/>
                    <a:gd name="T49" fmla="*/ 2147483646 h 114"/>
                    <a:gd name="T50" fmla="*/ 2147483646 w 113"/>
                    <a:gd name="T51" fmla="*/ 2147483646 h 114"/>
                    <a:gd name="T52" fmla="*/ 2147483646 w 113"/>
                    <a:gd name="T53" fmla="*/ 2147483646 h 114"/>
                    <a:gd name="T54" fmla="*/ 2147483646 w 113"/>
                    <a:gd name="T55" fmla="*/ 2147483646 h 114"/>
                    <a:gd name="T56" fmla="*/ 2147483646 w 113"/>
                    <a:gd name="T57" fmla="*/ 2147483646 h 114"/>
                    <a:gd name="T58" fmla="*/ 2147483646 w 113"/>
                    <a:gd name="T59" fmla="*/ 2147483646 h 114"/>
                    <a:gd name="T60" fmla="*/ 0 w 113"/>
                    <a:gd name="T61" fmla="*/ 2147483646 h 114"/>
                    <a:gd name="T62" fmla="*/ 2147483646 w 113"/>
                    <a:gd name="T63" fmla="*/ 2147483646 h 114"/>
                    <a:gd name="T64" fmla="*/ 2147483646 w 113"/>
                    <a:gd name="T65" fmla="*/ 2147483646 h 114"/>
                    <a:gd name="T66" fmla="*/ 2147483646 w 113"/>
                    <a:gd name="T67" fmla="*/ 2147483646 h 114"/>
                    <a:gd name="T68" fmla="*/ 2147483646 w 113"/>
                    <a:gd name="T69" fmla="*/ 2147483646 h 114"/>
                    <a:gd name="T70" fmla="*/ 2147483646 w 113"/>
                    <a:gd name="T71" fmla="*/ 2147483646 h 114"/>
                    <a:gd name="T72" fmla="*/ 2147483646 w 113"/>
                    <a:gd name="T73" fmla="*/ 2147483646 h 114"/>
                    <a:gd name="T74" fmla="*/ 2147483646 w 113"/>
                    <a:gd name="T75" fmla="*/ 2147483646 h 114"/>
                    <a:gd name="T76" fmla="*/ 2147483646 w 113"/>
                    <a:gd name="T77" fmla="*/ 0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3"/>
                    <a:gd name="T118" fmla="*/ 0 h 114"/>
                    <a:gd name="T119" fmla="*/ 113 w 113"/>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3" h="114">
                      <a:moveTo>
                        <a:pt x="55" y="25"/>
                      </a:moveTo>
                      <a:lnTo>
                        <a:pt x="43" y="28"/>
                      </a:lnTo>
                      <a:lnTo>
                        <a:pt x="32" y="36"/>
                      </a:lnTo>
                      <a:lnTo>
                        <a:pt x="27" y="46"/>
                      </a:lnTo>
                      <a:lnTo>
                        <a:pt x="24" y="59"/>
                      </a:lnTo>
                      <a:lnTo>
                        <a:pt x="28" y="71"/>
                      </a:lnTo>
                      <a:lnTo>
                        <a:pt x="35" y="82"/>
                      </a:lnTo>
                      <a:lnTo>
                        <a:pt x="45" y="88"/>
                      </a:lnTo>
                      <a:lnTo>
                        <a:pt x="58" y="89"/>
                      </a:lnTo>
                      <a:lnTo>
                        <a:pt x="70" y="86"/>
                      </a:lnTo>
                      <a:lnTo>
                        <a:pt x="81" y="79"/>
                      </a:lnTo>
                      <a:lnTo>
                        <a:pt x="87" y="68"/>
                      </a:lnTo>
                      <a:lnTo>
                        <a:pt x="89" y="55"/>
                      </a:lnTo>
                      <a:lnTo>
                        <a:pt x="86" y="44"/>
                      </a:lnTo>
                      <a:lnTo>
                        <a:pt x="78" y="33"/>
                      </a:lnTo>
                      <a:lnTo>
                        <a:pt x="68" y="27"/>
                      </a:lnTo>
                      <a:lnTo>
                        <a:pt x="55" y="25"/>
                      </a:lnTo>
                      <a:close/>
                      <a:moveTo>
                        <a:pt x="61" y="0"/>
                      </a:moveTo>
                      <a:lnTo>
                        <a:pt x="61" y="11"/>
                      </a:lnTo>
                      <a:lnTo>
                        <a:pt x="66" y="12"/>
                      </a:lnTo>
                      <a:lnTo>
                        <a:pt x="70" y="13"/>
                      </a:lnTo>
                      <a:lnTo>
                        <a:pt x="75" y="3"/>
                      </a:lnTo>
                      <a:lnTo>
                        <a:pt x="89" y="10"/>
                      </a:lnTo>
                      <a:lnTo>
                        <a:pt x="83" y="20"/>
                      </a:lnTo>
                      <a:lnTo>
                        <a:pt x="87" y="23"/>
                      </a:lnTo>
                      <a:lnTo>
                        <a:pt x="91" y="27"/>
                      </a:lnTo>
                      <a:lnTo>
                        <a:pt x="100" y="20"/>
                      </a:lnTo>
                      <a:lnTo>
                        <a:pt x="108" y="32"/>
                      </a:lnTo>
                      <a:lnTo>
                        <a:pt x="99" y="38"/>
                      </a:lnTo>
                      <a:lnTo>
                        <a:pt x="100" y="42"/>
                      </a:lnTo>
                      <a:lnTo>
                        <a:pt x="102" y="48"/>
                      </a:lnTo>
                      <a:lnTo>
                        <a:pt x="113" y="48"/>
                      </a:lnTo>
                      <a:lnTo>
                        <a:pt x="113" y="61"/>
                      </a:lnTo>
                      <a:lnTo>
                        <a:pt x="103" y="62"/>
                      </a:lnTo>
                      <a:lnTo>
                        <a:pt x="102" y="67"/>
                      </a:lnTo>
                      <a:lnTo>
                        <a:pt x="100" y="71"/>
                      </a:lnTo>
                      <a:lnTo>
                        <a:pt x="111" y="76"/>
                      </a:lnTo>
                      <a:lnTo>
                        <a:pt x="104" y="89"/>
                      </a:lnTo>
                      <a:lnTo>
                        <a:pt x="94" y="84"/>
                      </a:lnTo>
                      <a:lnTo>
                        <a:pt x="91" y="88"/>
                      </a:lnTo>
                      <a:lnTo>
                        <a:pt x="87" y="92"/>
                      </a:lnTo>
                      <a:lnTo>
                        <a:pt x="94" y="101"/>
                      </a:lnTo>
                      <a:lnTo>
                        <a:pt x="82" y="109"/>
                      </a:lnTo>
                      <a:lnTo>
                        <a:pt x="75" y="100"/>
                      </a:lnTo>
                      <a:lnTo>
                        <a:pt x="72" y="101"/>
                      </a:lnTo>
                      <a:lnTo>
                        <a:pt x="66" y="103"/>
                      </a:lnTo>
                      <a:lnTo>
                        <a:pt x="66" y="114"/>
                      </a:lnTo>
                      <a:lnTo>
                        <a:pt x="53" y="114"/>
                      </a:lnTo>
                      <a:lnTo>
                        <a:pt x="52" y="104"/>
                      </a:lnTo>
                      <a:lnTo>
                        <a:pt x="47" y="103"/>
                      </a:lnTo>
                      <a:lnTo>
                        <a:pt x="43" y="101"/>
                      </a:lnTo>
                      <a:lnTo>
                        <a:pt x="37" y="112"/>
                      </a:lnTo>
                      <a:lnTo>
                        <a:pt x="24" y="105"/>
                      </a:lnTo>
                      <a:lnTo>
                        <a:pt x="30" y="95"/>
                      </a:lnTo>
                      <a:lnTo>
                        <a:pt x="26" y="92"/>
                      </a:lnTo>
                      <a:lnTo>
                        <a:pt x="22" y="88"/>
                      </a:lnTo>
                      <a:lnTo>
                        <a:pt x="13" y="95"/>
                      </a:lnTo>
                      <a:lnTo>
                        <a:pt x="5" y="83"/>
                      </a:lnTo>
                      <a:lnTo>
                        <a:pt x="14" y="76"/>
                      </a:lnTo>
                      <a:lnTo>
                        <a:pt x="13" y="72"/>
                      </a:lnTo>
                      <a:lnTo>
                        <a:pt x="11" y="67"/>
                      </a:lnTo>
                      <a:lnTo>
                        <a:pt x="0" y="67"/>
                      </a:lnTo>
                      <a:lnTo>
                        <a:pt x="0" y="54"/>
                      </a:lnTo>
                      <a:lnTo>
                        <a:pt x="10" y="53"/>
                      </a:lnTo>
                      <a:lnTo>
                        <a:pt x="11" y="48"/>
                      </a:lnTo>
                      <a:lnTo>
                        <a:pt x="13" y="44"/>
                      </a:lnTo>
                      <a:lnTo>
                        <a:pt x="2" y="38"/>
                      </a:lnTo>
                      <a:lnTo>
                        <a:pt x="9" y="25"/>
                      </a:lnTo>
                      <a:lnTo>
                        <a:pt x="19" y="31"/>
                      </a:lnTo>
                      <a:lnTo>
                        <a:pt x="22" y="27"/>
                      </a:lnTo>
                      <a:lnTo>
                        <a:pt x="26" y="23"/>
                      </a:lnTo>
                      <a:lnTo>
                        <a:pt x="19" y="13"/>
                      </a:lnTo>
                      <a:lnTo>
                        <a:pt x="31" y="6"/>
                      </a:lnTo>
                      <a:lnTo>
                        <a:pt x="37" y="15"/>
                      </a:lnTo>
                      <a:lnTo>
                        <a:pt x="43" y="13"/>
                      </a:lnTo>
                      <a:lnTo>
                        <a:pt x="47" y="12"/>
                      </a:lnTo>
                      <a:lnTo>
                        <a:pt x="47" y="0"/>
                      </a:lnTo>
                      <a:lnTo>
                        <a:pt x="61" y="0"/>
                      </a:lnTo>
                      <a:close/>
                    </a:path>
                  </a:pathLst>
                </a:custGeom>
                <a:solidFill>
                  <a:srgbClr val="1BAE96"/>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s-ES"/>
                </a:p>
              </p:txBody>
            </p:sp>
            <p:sp>
              <p:nvSpPr>
                <p:cNvPr id="70" name="Freeform 230">
                  <a:extLst>
                    <a:ext uri="{FF2B5EF4-FFF2-40B4-BE49-F238E27FC236}">
                      <a16:creationId xmlns:a16="http://schemas.microsoft.com/office/drawing/2014/main" id="{8511E11F-E2CA-4804-AE47-0DD885A720BD}"/>
                    </a:ext>
                  </a:extLst>
                </p:cNvPr>
                <p:cNvSpPr>
                  <a:spLocks/>
                </p:cNvSpPr>
                <p:nvPr/>
              </p:nvSpPr>
              <p:spPr bwMode="auto">
                <a:xfrm>
                  <a:off x="1829403" y="3728953"/>
                  <a:ext cx="45849" cy="45853"/>
                </a:xfrm>
                <a:custGeom>
                  <a:avLst/>
                  <a:gdLst>
                    <a:gd name="T0" fmla="*/ 2147483646 w 33"/>
                    <a:gd name="T1" fmla="*/ 0 h 33"/>
                    <a:gd name="T2" fmla="*/ 2147483646 w 33"/>
                    <a:gd name="T3" fmla="*/ 0 h 33"/>
                    <a:gd name="T4" fmla="*/ 2147483646 w 33"/>
                    <a:gd name="T5" fmla="*/ 2147483646 h 33"/>
                    <a:gd name="T6" fmla="*/ 2147483646 w 33"/>
                    <a:gd name="T7" fmla="*/ 2147483646 h 33"/>
                    <a:gd name="T8" fmla="*/ 2147483646 w 33"/>
                    <a:gd name="T9" fmla="*/ 2147483646 h 33"/>
                    <a:gd name="T10" fmla="*/ 2147483646 w 33"/>
                    <a:gd name="T11" fmla="*/ 2147483646 h 33"/>
                    <a:gd name="T12" fmla="*/ 2147483646 w 33"/>
                    <a:gd name="T13" fmla="*/ 2147483646 h 33"/>
                    <a:gd name="T14" fmla="*/ 2147483646 w 33"/>
                    <a:gd name="T15" fmla="*/ 2147483646 h 33"/>
                    <a:gd name="T16" fmla="*/ 2147483646 w 33"/>
                    <a:gd name="T17" fmla="*/ 2147483646 h 33"/>
                    <a:gd name="T18" fmla="*/ 2147483646 w 33"/>
                    <a:gd name="T19" fmla="*/ 2147483646 h 33"/>
                    <a:gd name="T20" fmla="*/ 2147483646 w 33"/>
                    <a:gd name="T21" fmla="*/ 2147483646 h 33"/>
                    <a:gd name="T22" fmla="*/ 2147483646 w 33"/>
                    <a:gd name="T23" fmla="*/ 2147483646 h 33"/>
                    <a:gd name="T24" fmla="*/ 2147483646 w 33"/>
                    <a:gd name="T25" fmla="*/ 2147483646 h 33"/>
                    <a:gd name="T26" fmla="*/ 2147483646 w 33"/>
                    <a:gd name="T27" fmla="*/ 2147483646 h 33"/>
                    <a:gd name="T28" fmla="*/ 2147483646 w 33"/>
                    <a:gd name="T29" fmla="*/ 2147483646 h 33"/>
                    <a:gd name="T30" fmla="*/ 0 w 33"/>
                    <a:gd name="T31" fmla="*/ 2147483646 h 33"/>
                    <a:gd name="T32" fmla="*/ 2147483646 w 33"/>
                    <a:gd name="T33" fmla="*/ 2147483646 h 33"/>
                    <a:gd name="T34" fmla="*/ 2147483646 w 33"/>
                    <a:gd name="T35" fmla="*/ 2147483646 h 33"/>
                    <a:gd name="T36" fmla="*/ 2147483646 w 33"/>
                    <a:gd name="T37" fmla="*/ 2147483646 h 33"/>
                    <a:gd name="T38" fmla="*/ 2147483646 w 33"/>
                    <a:gd name="T39" fmla="*/ 2147483646 h 33"/>
                    <a:gd name="T40" fmla="*/ 2147483646 w 33"/>
                    <a:gd name="T41" fmla="*/ 0 h 3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3"/>
                    <a:gd name="T64" fmla="*/ 0 h 33"/>
                    <a:gd name="T65" fmla="*/ 33 w 33"/>
                    <a:gd name="T66" fmla="*/ 33 h 3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3" h="33">
                      <a:moveTo>
                        <a:pt x="16" y="0"/>
                      </a:moveTo>
                      <a:lnTo>
                        <a:pt x="21" y="0"/>
                      </a:lnTo>
                      <a:lnTo>
                        <a:pt x="25" y="3"/>
                      </a:lnTo>
                      <a:lnTo>
                        <a:pt x="29" y="7"/>
                      </a:lnTo>
                      <a:lnTo>
                        <a:pt x="32" y="10"/>
                      </a:lnTo>
                      <a:lnTo>
                        <a:pt x="33" y="16"/>
                      </a:lnTo>
                      <a:lnTo>
                        <a:pt x="33" y="21"/>
                      </a:lnTo>
                      <a:lnTo>
                        <a:pt x="30" y="25"/>
                      </a:lnTo>
                      <a:lnTo>
                        <a:pt x="26" y="29"/>
                      </a:lnTo>
                      <a:lnTo>
                        <a:pt x="22" y="31"/>
                      </a:lnTo>
                      <a:lnTo>
                        <a:pt x="17" y="33"/>
                      </a:lnTo>
                      <a:lnTo>
                        <a:pt x="12" y="31"/>
                      </a:lnTo>
                      <a:lnTo>
                        <a:pt x="8" y="30"/>
                      </a:lnTo>
                      <a:lnTo>
                        <a:pt x="4" y="26"/>
                      </a:lnTo>
                      <a:lnTo>
                        <a:pt x="1" y="22"/>
                      </a:lnTo>
                      <a:lnTo>
                        <a:pt x="0" y="17"/>
                      </a:lnTo>
                      <a:lnTo>
                        <a:pt x="1" y="12"/>
                      </a:lnTo>
                      <a:lnTo>
                        <a:pt x="3" y="8"/>
                      </a:lnTo>
                      <a:lnTo>
                        <a:pt x="7" y="4"/>
                      </a:lnTo>
                      <a:lnTo>
                        <a:pt x="11" y="1"/>
                      </a:lnTo>
                      <a:lnTo>
                        <a:pt x="16" y="0"/>
                      </a:lnTo>
                      <a:close/>
                    </a:path>
                  </a:pathLst>
                </a:custGeom>
                <a:solidFill>
                  <a:srgbClr val="1BAE96"/>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s-ES"/>
                </a:p>
              </p:txBody>
            </p:sp>
            <p:sp>
              <p:nvSpPr>
                <p:cNvPr id="71" name="Freeform 231">
                  <a:extLst>
                    <a:ext uri="{FF2B5EF4-FFF2-40B4-BE49-F238E27FC236}">
                      <a16:creationId xmlns:a16="http://schemas.microsoft.com/office/drawing/2014/main" id="{3EA4AFAF-90A7-4075-970A-24607A88FD99}"/>
                    </a:ext>
                  </a:extLst>
                </p:cNvPr>
                <p:cNvSpPr>
                  <a:spLocks noEditPoints="1"/>
                </p:cNvSpPr>
                <p:nvPr/>
              </p:nvSpPr>
              <p:spPr bwMode="auto">
                <a:xfrm>
                  <a:off x="1223652" y="3107856"/>
                  <a:ext cx="211179" cy="213980"/>
                </a:xfrm>
                <a:custGeom>
                  <a:avLst/>
                  <a:gdLst>
                    <a:gd name="T0" fmla="*/ 2147483646 w 152"/>
                    <a:gd name="T1" fmla="*/ 2147483646 h 154"/>
                    <a:gd name="T2" fmla="*/ 2147483646 w 152"/>
                    <a:gd name="T3" fmla="*/ 2147483646 h 154"/>
                    <a:gd name="T4" fmla="*/ 2147483646 w 152"/>
                    <a:gd name="T5" fmla="*/ 2147483646 h 154"/>
                    <a:gd name="T6" fmla="*/ 2147483646 w 152"/>
                    <a:gd name="T7" fmla="*/ 2147483646 h 154"/>
                    <a:gd name="T8" fmla="*/ 2147483646 w 152"/>
                    <a:gd name="T9" fmla="*/ 2147483646 h 154"/>
                    <a:gd name="T10" fmla="*/ 2147483646 w 152"/>
                    <a:gd name="T11" fmla="*/ 2147483646 h 154"/>
                    <a:gd name="T12" fmla="*/ 2147483646 w 152"/>
                    <a:gd name="T13" fmla="*/ 2147483646 h 154"/>
                    <a:gd name="T14" fmla="*/ 2147483646 w 152"/>
                    <a:gd name="T15" fmla="*/ 2147483646 h 154"/>
                    <a:gd name="T16" fmla="*/ 2147483646 w 152"/>
                    <a:gd name="T17" fmla="*/ 0 h 154"/>
                    <a:gd name="T18" fmla="*/ 2147483646 w 152"/>
                    <a:gd name="T19" fmla="*/ 2147483646 h 154"/>
                    <a:gd name="T20" fmla="*/ 2147483646 w 152"/>
                    <a:gd name="T21" fmla="*/ 2147483646 h 154"/>
                    <a:gd name="T22" fmla="*/ 2147483646 w 152"/>
                    <a:gd name="T23" fmla="*/ 2147483646 h 154"/>
                    <a:gd name="T24" fmla="*/ 2147483646 w 152"/>
                    <a:gd name="T25" fmla="*/ 2147483646 h 154"/>
                    <a:gd name="T26" fmla="*/ 2147483646 w 152"/>
                    <a:gd name="T27" fmla="*/ 2147483646 h 154"/>
                    <a:gd name="T28" fmla="*/ 2147483646 w 152"/>
                    <a:gd name="T29" fmla="*/ 2147483646 h 154"/>
                    <a:gd name="T30" fmla="*/ 2147483646 w 152"/>
                    <a:gd name="T31" fmla="*/ 2147483646 h 154"/>
                    <a:gd name="T32" fmla="*/ 2147483646 w 152"/>
                    <a:gd name="T33" fmla="*/ 2147483646 h 154"/>
                    <a:gd name="T34" fmla="*/ 2147483646 w 152"/>
                    <a:gd name="T35" fmla="*/ 2147483646 h 154"/>
                    <a:gd name="T36" fmla="*/ 2147483646 w 152"/>
                    <a:gd name="T37" fmla="*/ 2147483646 h 154"/>
                    <a:gd name="T38" fmla="*/ 2147483646 w 152"/>
                    <a:gd name="T39" fmla="*/ 2147483646 h 154"/>
                    <a:gd name="T40" fmla="*/ 2147483646 w 152"/>
                    <a:gd name="T41" fmla="*/ 2147483646 h 154"/>
                    <a:gd name="T42" fmla="*/ 2147483646 w 152"/>
                    <a:gd name="T43" fmla="*/ 2147483646 h 154"/>
                    <a:gd name="T44" fmla="*/ 2147483646 w 152"/>
                    <a:gd name="T45" fmla="*/ 2147483646 h 154"/>
                    <a:gd name="T46" fmla="*/ 2147483646 w 152"/>
                    <a:gd name="T47" fmla="*/ 2147483646 h 154"/>
                    <a:gd name="T48" fmla="*/ 2147483646 w 152"/>
                    <a:gd name="T49" fmla="*/ 2147483646 h 154"/>
                    <a:gd name="T50" fmla="*/ 2147483646 w 152"/>
                    <a:gd name="T51" fmla="*/ 2147483646 h 154"/>
                    <a:gd name="T52" fmla="*/ 2147483646 w 152"/>
                    <a:gd name="T53" fmla="*/ 2147483646 h 154"/>
                    <a:gd name="T54" fmla="*/ 2147483646 w 152"/>
                    <a:gd name="T55" fmla="*/ 2147483646 h 154"/>
                    <a:gd name="T56" fmla="*/ 2147483646 w 152"/>
                    <a:gd name="T57" fmla="*/ 2147483646 h 154"/>
                    <a:gd name="T58" fmla="*/ 2147483646 w 152"/>
                    <a:gd name="T59" fmla="*/ 2147483646 h 154"/>
                    <a:gd name="T60" fmla="*/ 2147483646 w 152"/>
                    <a:gd name="T61" fmla="*/ 2147483646 h 154"/>
                    <a:gd name="T62" fmla="*/ 2147483646 w 152"/>
                    <a:gd name="T63" fmla="*/ 2147483646 h 154"/>
                    <a:gd name="T64" fmla="*/ 2147483646 w 152"/>
                    <a:gd name="T65" fmla="*/ 2147483646 h 154"/>
                    <a:gd name="T66" fmla="*/ 2147483646 w 152"/>
                    <a:gd name="T67" fmla="*/ 2147483646 h 154"/>
                    <a:gd name="T68" fmla="*/ 2147483646 w 152"/>
                    <a:gd name="T69" fmla="*/ 2147483646 h 154"/>
                    <a:gd name="T70" fmla="*/ 2147483646 w 152"/>
                    <a:gd name="T71" fmla="*/ 2147483646 h 154"/>
                    <a:gd name="T72" fmla="*/ 2147483646 w 152"/>
                    <a:gd name="T73" fmla="*/ 2147483646 h 154"/>
                    <a:gd name="T74" fmla="*/ 2147483646 w 152"/>
                    <a:gd name="T75" fmla="*/ 2147483646 h 154"/>
                    <a:gd name="T76" fmla="*/ 2147483646 w 152"/>
                    <a:gd name="T77" fmla="*/ 0 h 15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2"/>
                    <a:gd name="T118" fmla="*/ 0 h 154"/>
                    <a:gd name="T119" fmla="*/ 152 w 152"/>
                    <a:gd name="T120" fmla="*/ 154 h 15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2" h="154">
                      <a:moveTo>
                        <a:pt x="73" y="35"/>
                      </a:moveTo>
                      <a:lnTo>
                        <a:pt x="58" y="38"/>
                      </a:lnTo>
                      <a:lnTo>
                        <a:pt x="44" y="49"/>
                      </a:lnTo>
                      <a:lnTo>
                        <a:pt x="35" y="62"/>
                      </a:lnTo>
                      <a:lnTo>
                        <a:pt x="34" y="79"/>
                      </a:lnTo>
                      <a:lnTo>
                        <a:pt x="38" y="96"/>
                      </a:lnTo>
                      <a:lnTo>
                        <a:pt x="47" y="109"/>
                      </a:lnTo>
                      <a:lnTo>
                        <a:pt x="61" y="117"/>
                      </a:lnTo>
                      <a:lnTo>
                        <a:pt x="79" y="120"/>
                      </a:lnTo>
                      <a:lnTo>
                        <a:pt x="94" y="116"/>
                      </a:lnTo>
                      <a:lnTo>
                        <a:pt x="107" y="105"/>
                      </a:lnTo>
                      <a:lnTo>
                        <a:pt x="117" y="91"/>
                      </a:lnTo>
                      <a:lnTo>
                        <a:pt x="119" y="75"/>
                      </a:lnTo>
                      <a:lnTo>
                        <a:pt x="114" y="58"/>
                      </a:lnTo>
                      <a:lnTo>
                        <a:pt x="105" y="45"/>
                      </a:lnTo>
                      <a:lnTo>
                        <a:pt x="90" y="37"/>
                      </a:lnTo>
                      <a:lnTo>
                        <a:pt x="73" y="35"/>
                      </a:lnTo>
                      <a:close/>
                      <a:moveTo>
                        <a:pt x="81" y="0"/>
                      </a:moveTo>
                      <a:lnTo>
                        <a:pt x="82" y="16"/>
                      </a:lnTo>
                      <a:lnTo>
                        <a:pt x="89" y="16"/>
                      </a:lnTo>
                      <a:lnTo>
                        <a:pt x="96" y="19"/>
                      </a:lnTo>
                      <a:lnTo>
                        <a:pt x="102" y="4"/>
                      </a:lnTo>
                      <a:lnTo>
                        <a:pt x="119" y="14"/>
                      </a:lnTo>
                      <a:lnTo>
                        <a:pt x="113" y="27"/>
                      </a:lnTo>
                      <a:lnTo>
                        <a:pt x="117" y="31"/>
                      </a:lnTo>
                      <a:lnTo>
                        <a:pt x="122" y="36"/>
                      </a:lnTo>
                      <a:lnTo>
                        <a:pt x="135" y="28"/>
                      </a:lnTo>
                      <a:lnTo>
                        <a:pt x="145" y="44"/>
                      </a:lnTo>
                      <a:lnTo>
                        <a:pt x="132" y="52"/>
                      </a:lnTo>
                      <a:lnTo>
                        <a:pt x="135" y="58"/>
                      </a:lnTo>
                      <a:lnTo>
                        <a:pt x="136" y="65"/>
                      </a:lnTo>
                      <a:lnTo>
                        <a:pt x="152" y="63"/>
                      </a:lnTo>
                      <a:lnTo>
                        <a:pt x="152" y="82"/>
                      </a:lnTo>
                      <a:lnTo>
                        <a:pt x="137" y="83"/>
                      </a:lnTo>
                      <a:lnTo>
                        <a:pt x="136" y="90"/>
                      </a:lnTo>
                      <a:lnTo>
                        <a:pt x="135" y="96"/>
                      </a:lnTo>
                      <a:lnTo>
                        <a:pt x="148" y="103"/>
                      </a:lnTo>
                      <a:lnTo>
                        <a:pt x="140" y="120"/>
                      </a:lnTo>
                      <a:lnTo>
                        <a:pt x="126" y="113"/>
                      </a:lnTo>
                      <a:lnTo>
                        <a:pt x="122" y="118"/>
                      </a:lnTo>
                      <a:lnTo>
                        <a:pt x="118" y="122"/>
                      </a:lnTo>
                      <a:lnTo>
                        <a:pt x="126" y="135"/>
                      </a:lnTo>
                      <a:lnTo>
                        <a:pt x="110" y="146"/>
                      </a:lnTo>
                      <a:lnTo>
                        <a:pt x="102" y="133"/>
                      </a:lnTo>
                      <a:lnTo>
                        <a:pt x="96" y="135"/>
                      </a:lnTo>
                      <a:lnTo>
                        <a:pt x="89" y="137"/>
                      </a:lnTo>
                      <a:lnTo>
                        <a:pt x="90" y="152"/>
                      </a:lnTo>
                      <a:lnTo>
                        <a:pt x="71" y="154"/>
                      </a:lnTo>
                      <a:lnTo>
                        <a:pt x="71" y="138"/>
                      </a:lnTo>
                      <a:lnTo>
                        <a:pt x="64" y="137"/>
                      </a:lnTo>
                      <a:lnTo>
                        <a:pt x="58" y="135"/>
                      </a:lnTo>
                      <a:lnTo>
                        <a:pt x="51" y="148"/>
                      </a:lnTo>
                      <a:lnTo>
                        <a:pt x="34" y="141"/>
                      </a:lnTo>
                      <a:lnTo>
                        <a:pt x="41" y="127"/>
                      </a:lnTo>
                      <a:lnTo>
                        <a:pt x="35" y="122"/>
                      </a:lnTo>
                      <a:lnTo>
                        <a:pt x="30" y="118"/>
                      </a:lnTo>
                      <a:lnTo>
                        <a:pt x="18" y="126"/>
                      </a:lnTo>
                      <a:lnTo>
                        <a:pt x="8" y="110"/>
                      </a:lnTo>
                      <a:lnTo>
                        <a:pt x="20" y="103"/>
                      </a:lnTo>
                      <a:lnTo>
                        <a:pt x="18" y="96"/>
                      </a:lnTo>
                      <a:lnTo>
                        <a:pt x="16" y="90"/>
                      </a:lnTo>
                      <a:lnTo>
                        <a:pt x="1" y="91"/>
                      </a:lnTo>
                      <a:lnTo>
                        <a:pt x="0" y="71"/>
                      </a:lnTo>
                      <a:lnTo>
                        <a:pt x="14" y="71"/>
                      </a:lnTo>
                      <a:lnTo>
                        <a:pt x="16" y="65"/>
                      </a:lnTo>
                      <a:lnTo>
                        <a:pt x="17" y="58"/>
                      </a:lnTo>
                      <a:lnTo>
                        <a:pt x="4" y="52"/>
                      </a:lnTo>
                      <a:lnTo>
                        <a:pt x="13" y="35"/>
                      </a:lnTo>
                      <a:lnTo>
                        <a:pt x="26" y="41"/>
                      </a:lnTo>
                      <a:lnTo>
                        <a:pt x="30" y="36"/>
                      </a:lnTo>
                      <a:lnTo>
                        <a:pt x="35" y="32"/>
                      </a:lnTo>
                      <a:lnTo>
                        <a:pt x="26" y="19"/>
                      </a:lnTo>
                      <a:lnTo>
                        <a:pt x="42" y="8"/>
                      </a:lnTo>
                      <a:lnTo>
                        <a:pt x="51" y="21"/>
                      </a:lnTo>
                      <a:lnTo>
                        <a:pt x="56" y="19"/>
                      </a:lnTo>
                      <a:lnTo>
                        <a:pt x="63" y="16"/>
                      </a:lnTo>
                      <a:lnTo>
                        <a:pt x="63" y="2"/>
                      </a:lnTo>
                      <a:lnTo>
                        <a:pt x="81" y="0"/>
                      </a:lnTo>
                      <a:close/>
                    </a:path>
                  </a:pathLst>
                </a:custGeom>
                <a:solidFill>
                  <a:srgbClr val="89A14F"/>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s-ES"/>
                </a:p>
              </p:txBody>
            </p:sp>
            <p:sp>
              <p:nvSpPr>
                <p:cNvPr id="72" name="Freeform 232">
                  <a:extLst>
                    <a:ext uri="{FF2B5EF4-FFF2-40B4-BE49-F238E27FC236}">
                      <a16:creationId xmlns:a16="http://schemas.microsoft.com/office/drawing/2014/main" id="{3E1E7CD2-673B-4426-8EC7-F804D24DCDF6}"/>
                    </a:ext>
                  </a:extLst>
                </p:cNvPr>
                <p:cNvSpPr>
                  <a:spLocks/>
                </p:cNvSpPr>
                <p:nvPr/>
              </p:nvSpPr>
              <p:spPr bwMode="auto">
                <a:xfrm>
                  <a:off x="1300066" y="3184278"/>
                  <a:ext cx="59742" cy="61137"/>
                </a:xfrm>
                <a:custGeom>
                  <a:avLst/>
                  <a:gdLst>
                    <a:gd name="T0" fmla="*/ 2147483646 w 43"/>
                    <a:gd name="T1" fmla="*/ 0 h 44"/>
                    <a:gd name="T2" fmla="*/ 2147483646 w 43"/>
                    <a:gd name="T3" fmla="*/ 2147483646 h 44"/>
                    <a:gd name="T4" fmla="*/ 2147483646 w 43"/>
                    <a:gd name="T5" fmla="*/ 2147483646 h 44"/>
                    <a:gd name="T6" fmla="*/ 2147483646 w 43"/>
                    <a:gd name="T7" fmla="*/ 2147483646 h 44"/>
                    <a:gd name="T8" fmla="*/ 2147483646 w 43"/>
                    <a:gd name="T9" fmla="*/ 2147483646 h 44"/>
                    <a:gd name="T10" fmla="*/ 2147483646 w 43"/>
                    <a:gd name="T11" fmla="*/ 2147483646 h 44"/>
                    <a:gd name="T12" fmla="*/ 2147483646 w 43"/>
                    <a:gd name="T13" fmla="*/ 2147483646 h 44"/>
                    <a:gd name="T14" fmla="*/ 2147483646 w 43"/>
                    <a:gd name="T15" fmla="*/ 2147483646 h 44"/>
                    <a:gd name="T16" fmla="*/ 2147483646 w 43"/>
                    <a:gd name="T17" fmla="*/ 2147483646 h 44"/>
                    <a:gd name="T18" fmla="*/ 0 w 43"/>
                    <a:gd name="T19" fmla="*/ 2147483646 h 44"/>
                    <a:gd name="T20" fmla="*/ 2147483646 w 43"/>
                    <a:gd name="T21" fmla="*/ 2147483646 h 44"/>
                    <a:gd name="T22" fmla="*/ 2147483646 w 43"/>
                    <a:gd name="T23" fmla="*/ 2147483646 h 44"/>
                    <a:gd name="T24" fmla="*/ 2147483646 w 43"/>
                    <a:gd name="T25" fmla="*/ 0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44"/>
                    <a:gd name="T41" fmla="*/ 43 w 43"/>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44">
                      <a:moveTo>
                        <a:pt x="20" y="0"/>
                      </a:moveTo>
                      <a:lnTo>
                        <a:pt x="31" y="3"/>
                      </a:lnTo>
                      <a:lnTo>
                        <a:pt x="39" y="10"/>
                      </a:lnTo>
                      <a:lnTo>
                        <a:pt x="43" y="20"/>
                      </a:lnTo>
                      <a:lnTo>
                        <a:pt x="41" y="32"/>
                      </a:lnTo>
                      <a:lnTo>
                        <a:pt x="33" y="40"/>
                      </a:lnTo>
                      <a:lnTo>
                        <a:pt x="22" y="44"/>
                      </a:lnTo>
                      <a:lnTo>
                        <a:pt x="12" y="41"/>
                      </a:lnTo>
                      <a:lnTo>
                        <a:pt x="3" y="35"/>
                      </a:lnTo>
                      <a:lnTo>
                        <a:pt x="0" y="23"/>
                      </a:lnTo>
                      <a:lnTo>
                        <a:pt x="1" y="12"/>
                      </a:lnTo>
                      <a:lnTo>
                        <a:pt x="9" y="4"/>
                      </a:lnTo>
                      <a:lnTo>
                        <a:pt x="20" y="0"/>
                      </a:lnTo>
                      <a:close/>
                    </a:path>
                  </a:pathLst>
                </a:custGeom>
                <a:solidFill>
                  <a:srgbClr val="89A14F"/>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s-ES"/>
                </a:p>
              </p:txBody>
            </p:sp>
          </p:grpSp>
          <p:sp>
            <p:nvSpPr>
              <p:cNvPr id="22" name="Freeform 220">
                <a:extLst>
                  <a:ext uri="{FF2B5EF4-FFF2-40B4-BE49-F238E27FC236}">
                    <a16:creationId xmlns:a16="http://schemas.microsoft.com/office/drawing/2014/main" id="{B1DA468F-062E-4B3F-8911-4D60A40C7E94}"/>
                  </a:ext>
                </a:extLst>
              </p:cNvPr>
              <p:cNvSpPr>
                <a:spLocks/>
              </p:cNvSpPr>
              <p:nvPr/>
            </p:nvSpPr>
            <p:spPr bwMode="auto">
              <a:xfrm>
                <a:off x="1476375" y="3989121"/>
                <a:ext cx="441325" cy="395330"/>
              </a:xfrm>
              <a:custGeom>
                <a:avLst/>
                <a:gdLst>
                  <a:gd name="T0" fmla="*/ 2147483646 w 199"/>
                  <a:gd name="T1" fmla="*/ 0 h 199"/>
                  <a:gd name="T2" fmla="*/ 2147483646 w 199"/>
                  <a:gd name="T3" fmla="*/ 2147483646 h 199"/>
                  <a:gd name="T4" fmla="*/ 2147483646 w 199"/>
                  <a:gd name="T5" fmla="*/ 2147483646 h 199"/>
                  <a:gd name="T6" fmla="*/ 2147483646 w 199"/>
                  <a:gd name="T7" fmla="*/ 2147483646 h 199"/>
                  <a:gd name="T8" fmla="*/ 2147483646 w 199"/>
                  <a:gd name="T9" fmla="*/ 2147483646 h 199"/>
                  <a:gd name="T10" fmla="*/ 2147483646 w 199"/>
                  <a:gd name="T11" fmla="*/ 2147483646 h 199"/>
                  <a:gd name="T12" fmla="*/ 2147483646 w 199"/>
                  <a:gd name="T13" fmla="*/ 2147483646 h 199"/>
                  <a:gd name="T14" fmla="*/ 2147483646 w 199"/>
                  <a:gd name="T15" fmla="*/ 2147483646 h 199"/>
                  <a:gd name="T16" fmla="*/ 2147483646 w 199"/>
                  <a:gd name="T17" fmla="*/ 2147483646 h 199"/>
                  <a:gd name="T18" fmla="*/ 2147483646 w 199"/>
                  <a:gd name="T19" fmla="*/ 2147483646 h 199"/>
                  <a:gd name="T20" fmla="*/ 2147483646 w 199"/>
                  <a:gd name="T21" fmla="*/ 2147483646 h 199"/>
                  <a:gd name="T22" fmla="*/ 2147483646 w 199"/>
                  <a:gd name="T23" fmla="*/ 2147483646 h 199"/>
                  <a:gd name="T24" fmla="*/ 2147483646 w 199"/>
                  <a:gd name="T25" fmla="*/ 2147483646 h 199"/>
                  <a:gd name="T26" fmla="*/ 2147483646 w 199"/>
                  <a:gd name="T27" fmla="*/ 2147483646 h 199"/>
                  <a:gd name="T28" fmla="*/ 2147483646 w 199"/>
                  <a:gd name="T29" fmla="*/ 2147483646 h 199"/>
                  <a:gd name="T30" fmla="*/ 2147483646 w 199"/>
                  <a:gd name="T31" fmla="*/ 2147483646 h 199"/>
                  <a:gd name="T32" fmla="*/ 2147483646 w 199"/>
                  <a:gd name="T33" fmla="*/ 2147483646 h 199"/>
                  <a:gd name="T34" fmla="*/ 2147483646 w 199"/>
                  <a:gd name="T35" fmla="*/ 2147483646 h 199"/>
                  <a:gd name="T36" fmla="*/ 0 w 199"/>
                  <a:gd name="T37" fmla="*/ 2147483646 h 199"/>
                  <a:gd name="T38" fmla="*/ 2147483646 w 199"/>
                  <a:gd name="T39" fmla="*/ 2147483646 h 199"/>
                  <a:gd name="T40" fmla="*/ 2147483646 w 199"/>
                  <a:gd name="T41" fmla="*/ 2147483646 h 199"/>
                  <a:gd name="T42" fmla="*/ 2147483646 w 199"/>
                  <a:gd name="T43" fmla="*/ 2147483646 h 199"/>
                  <a:gd name="T44" fmla="*/ 2147483646 w 199"/>
                  <a:gd name="T45" fmla="*/ 2147483646 h 199"/>
                  <a:gd name="T46" fmla="*/ 2147483646 w 199"/>
                  <a:gd name="T47" fmla="*/ 2147483646 h 199"/>
                  <a:gd name="T48" fmla="*/ 2147483646 w 199"/>
                  <a:gd name="T49" fmla="*/ 0 h 19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9"/>
                  <a:gd name="T76" fmla="*/ 0 h 199"/>
                  <a:gd name="T77" fmla="*/ 199 w 199"/>
                  <a:gd name="T78" fmla="*/ 199 h 19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9" h="199">
                    <a:moveTo>
                      <a:pt x="95" y="0"/>
                    </a:moveTo>
                    <a:lnTo>
                      <a:pt x="121" y="3"/>
                    </a:lnTo>
                    <a:lnTo>
                      <a:pt x="144" y="12"/>
                    </a:lnTo>
                    <a:lnTo>
                      <a:pt x="165" y="25"/>
                    </a:lnTo>
                    <a:lnTo>
                      <a:pt x="182" y="45"/>
                    </a:lnTo>
                    <a:lnTo>
                      <a:pt x="194" y="68"/>
                    </a:lnTo>
                    <a:lnTo>
                      <a:pt x="199" y="94"/>
                    </a:lnTo>
                    <a:lnTo>
                      <a:pt x="197" y="121"/>
                    </a:lnTo>
                    <a:lnTo>
                      <a:pt x="188" y="144"/>
                    </a:lnTo>
                    <a:lnTo>
                      <a:pt x="173" y="165"/>
                    </a:lnTo>
                    <a:lnTo>
                      <a:pt x="155" y="182"/>
                    </a:lnTo>
                    <a:lnTo>
                      <a:pt x="131" y="194"/>
                    </a:lnTo>
                    <a:lnTo>
                      <a:pt x="105" y="199"/>
                    </a:lnTo>
                    <a:lnTo>
                      <a:pt x="79" y="196"/>
                    </a:lnTo>
                    <a:lnTo>
                      <a:pt x="54" y="187"/>
                    </a:lnTo>
                    <a:lnTo>
                      <a:pt x="34" y="174"/>
                    </a:lnTo>
                    <a:lnTo>
                      <a:pt x="17" y="155"/>
                    </a:lnTo>
                    <a:lnTo>
                      <a:pt x="5" y="131"/>
                    </a:lnTo>
                    <a:lnTo>
                      <a:pt x="0" y="105"/>
                    </a:lnTo>
                    <a:lnTo>
                      <a:pt x="3" y="79"/>
                    </a:lnTo>
                    <a:lnTo>
                      <a:pt x="11" y="55"/>
                    </a:lnTo>
                    <a:lnTo>
                      <a:pt x="25" y="34"/>
                    </a:lnTo>
                    <a:lnTo>
                      <a:pt x="45" y="17"/>
                    </a:lnTo>
                    <a:lnTo>
                      <a:pt x="68" y="5"/>
                    </a:lnTo>
                    <a:lnTo>
                      <a:pt x="95" y="0"/>
                    </a:lnTo>
                    <a:close/>
                  </a:path>
                </a:pathLst>
              </a:custGeom>
              <a:solidFill>
                <a:schemeClr val="bg1">
                  <a:lumMod val="75000"/>
                </a:schemeClr>
              </a:solidFill>
              <a:ln>
                <a:noFill/>
              </a:ln>
            </p:spPr>
            <p:txBody>
              <a:bodyPr/>
              <a:lstStyle/>
              <a:p>
                <a:pPr>
                  <a:defRPr/>
                </a:pPr>
                <a:endParaRPr lang="es-ES" dirty="0"/>
              </a:p>
            </p:txBody>
          </p:sp>
          <p:sp>
            <p:nvSpPr>
              <p:cNvPr id="23" name="19 Conector">
                <a:extLst>
                  <a:ext uri="{FF2B5EF4-FFF2-40B4-BE49-F238E27FC236}">
                    <a16:creationId xmlns:a16="http://schemas.microsoft.com/office/drawing/2014/main" id="{242C8528-0C0D-41AA-8CA5-991220FEA3F4}"/>
                  </a:ext>
                </a:extLst>
              </p:cNvPr>
              <p:cNvSpPr/>
              <p:nvPr/>
            </p:nvSpPr>
            <p:spPr>
              <a:xfrm>
                <a:off x="1491137" y="1883558"/>
                <a:ext cx="1080000" cy="1080000"/>
              </a:xfrm>
              <a:prstGeom prst="flowChartConnector">
                <a:avLst/>
              </a:prstGeom>
              <a:solidFill>
                <a:srgbClr val="1BAE96"/>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s-ES" dirty="0">
                  <a:latin typeface="Roboto Thin"/>
                </a:endParaRPr>
              </a:p>
            </p:txBody>
          </p:sp>
          <p:sp>
            <p:nvSpPr>
              <p:cNvPr id="24" name="20 Conector">
                <a:extLst>
                  <a:ext uri="{FF2B5EF4-FFF2-40B4-BE49-F238E27FC236}">
                    <a16:creationId xmlns:a16="http://schemas.microsoft.com/office/drawing/2014/main" id="{986E9984-8C4F-43DE-92BE-CB90C85F4D5A}"/>
                  </a:ext>
                </a:extLst>
              </p:cNvPr>
              <p:cNvSpPr/>
              <p:nvPr/>
            </p:nvSpPr>
            <p:spPr>
              <a:xfrm>
                <a:off x="1569613" y="1959832"/>
                <a:ext cx="928800" cy="928800"/>
              </a:xfrm>
              <a:prstGeom prst="flowChartConnector">
                <a:avLst/>
              </a:prstGeom>
              <a:solidFill>
                <a:schemeClr val="bg1"/>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s-ES" dirty="0">
                  <a:latin typeface="Roboto Thin"/>
                </a:endParaRPr>
              </a:p>
            </p:txBody>
          </p:sp>
          <p:sp>
            <p:nvSpPr>
              <p:cNvPr id="25" name="21 Conector">
                <a:extLst>
                  <a:ext uri="{FF2B5EF4-FFF2-40B4-BE49-F238E27FC236}">
                    <a16:creationId xmlns:a16="http://schemas.microsoft.com/office/drawing/2014/main" id="{56FDA9EA-ECC2-47F2-AF69-FCF94A969FCC}"/>
                  </a:ext>
                </a:extLst>
              </p:cNvPr>
              <p:cNvSpPr/>
              <p:nvPr/>
            </p:nvSpPr>
            <p:spPr>
              <a:xfrm>
                <a:off x="1624119" y="2024970"/>
                <a:ext cx="810000" cy="810000"/>
              </a:xfrm>
              <a:prstGeom prst="flowChartConnector">
                <a:avLst/>
              </a:prstGeom>
              <a:solidFill>
                <a:srgbClr val="44464A"/>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s-ES" dirty="0">
                  <a:latin typeface="Roboto Thin"/>
                </a:endParaRPr>
              </a:p>
            </p:txBody>
          </p:sp>
          <p:sp>
            <p:nvSpPr>
              <p:cNvPr id="26" name="23 Conector">
                <a:extLst>
                  <a:ext uri="{FF2B5EF4-FFF2-40B4-BE49-F238E27FC236}">
                    <a16:creationId xmlns:a16="http://schemas.microsoft.com/office/drawing/2014/main" id="{C580AF62-B0D3-40DD-994B-1A0B077736B4}"/>
                  </a:ext>
                </a:extLst>
              </p:cNvPr>
              <p:cNvSpPr/>
              <p:nvPr/>
            </p:nvSpPr>
            <p:spPr>
              <a:xfrm>
                <a:off x="1705451" y="2106302"/>
                <a:ext cx="648000" cy="648000"/>
              </a:xfrm>
              <a:prstGeom prst="flowChartConnector">
                <a:avLst/>
              </a:prstGeom>
              <a:solidFill>
                <a:schemeClr val="bg1"/>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s-ES" dirty="0">
                  <a:latin typeface="Roboto Thin"/>
                </a:endParaRPr>
              </a:p>
            </p:txBody>
          </p:sp>
          <p:sp>
            <p:nvSpPr>
              <p:cNvPr id="27" name="24 Conector">
                <a:extLst>
                  <a:ext uri="{FF2B5EF4-FFF2-40B4-BE49-F238E27FC236}">
                    <a16:creationId xmlns:a16="http://schemas.microsoft.com/office/drawing/2014/main" id="{6132F769-022B-4284-95F6-58F83CB59160}"/>
                  </a:ext>
                </a:extLst>
              </p:cNvPr>
              <p:cNvSpPr/>
              <p:nvPr/>
            </p:nvSpPr>
            <p:spPr>
              <a:xfrm>
                <a:off x="1791177" y="2198950"/>
                <a:ext cx="486000" cy="486000"/>
              </a:xfrm>
              <a:prstGeom prst="flowChartConnector">
                <a:avLst/>
              </a:prstGeom>
              <a:solidFill>
                <a:srgbClr val="1BAE96"/>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s-ES" dirty="0">
                  <a:latin typeface="Roboto Thin"/>
                </a:endParaRPr>
              </a:p>
            </p:txBody>
          </p:sp>
          <p:sp>
            <p:nvSpPr>
              <p:cNvPr id="28" name="25 Conector">
                <a:extLst>
                  <a:ext uri="{FF2B5EF4-FFF2-40B4-BE49-F238E27FC236}">
                    <a16:creationId xmlns:a16="http://schemas.microsoft.com/office/drawing/2014/main" id="{BA1027BF-8EDA-4D7F-AC63-A7056A3BBAEC}"/>
                  </a:ext>
                </a:extLst>
              </p:cNvPr>
              <p:cNvSpPr/>
              <p:nvPr/>
            </p:nvSpPr>
            <p:spPr>
              <a:xfrm>
                <a:off x="1874373" y="2277753"/>
                <a:ext cx="324000" cy="324000"/>
              </a:xfrm>
              <a:prstGeom prst="flowChartConnector">
                <a:avLst/>
              </a:prstGeom>
              <a:solidFill>
                <a:schemeClr val="bg1"/>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s-ES" dirty="0">
                  <a:latin typeface="Roboto Thin"/>
                </a:endParaRPr>
              </a:p>
            </p:txBody>
          </p:sp>
          <p:sp>
            <p:nvSpPr>
              <p:cNvPr id="29" name="26 Conector">
                <a:extLst>
                  <a:ext uri="{FF2B5EF4-FFF2-40B4-BE49-F238E27FC236}">
                    <a16:creationId xmlns:a16="http://schemas.microsoft.com/office/drawing/2014/main" id="{0D3EBFCD-EE2F-44B0-BABA-0886A2037312}"/>
                  </a:ext>
                </a:extLst>
              </p:cNvPr>
              <p:cNvSpPr/>
              <p:nvPr/>
            </p:nvSpPr>
            <p:spPr>
              <a:xfrm>
                <a:off x="1950648" y="2363479"/>
                <a:ext cx="162000" cy="162000"/>
              </a:xfrm>
              <a:prstGeom prst="flowChartConnector">
                <a:avLst/>
              </a:prstGeom>
              <a:solidFill>
                <a:schemeClr val="tx1">
                  <a:lumMod val="65000"/>
                  <a:lumOff val="35000"/>
                </a:schemeClr>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s-ES" dirty="0">
                  <a:latin typeface="Roboto Thin"/>
                </a:endParaRPr>
              </a:p>
            </p:txBody>
          </p:sp>
        </p:grpSp>
        <p:grpSp>
          <p:nvGrpSpPr>
            <p:cNvPr id="15" name="Grupo 62501">
              <a:extLst>
                <a:ext uri="{FF2B5EF4-FFF2-40B4-BE49-F238E27FC236}">
                  <a16:creationId xmlns:a16="http://schemas.microsoft.com/office/drawing/2014/main" id="{160E97D5-34A5-4D32-91F3-A967B39373E5}"/>
                </a:ext>
              </a:extLst>
            </p:cNvPr>
            <p:cNvGrpSpPr>
              <a:grpSpLocks/>
            </p:cNvGrpSpPr>
            <p:nvPr/>
          </p:nvGrpSpPr>
          <p:grpSpPr bwMode="auto">
            <a:xfrm>
              <a:off x="2030641" y="1583797"/>
              <a:ext cx="571096" cy="857299"/>
              <a:chOff x="2030641" y="1583797"/>
              <a:chExt cx="571096" cy="857299"/>
            </a:xfrm>
          </p:grpSpPr>
          <p:cxnSp>
            <p:nvCxnSpPr>
              <p:cNvPr id="16" name="Conector recto 15">
                <a:extLst>
                  <a:ext uri="{FF2B5EF4-FFF2-40B4-BE49-F238E27FC236}">
                    <a16:creationId xmlns:a16="http://schemas.microsoft.com/office/drawing/2014/main" id="{001E39C9-55B1-4BE8-96C8-D019710CAC50}"/>
                  </a:ext>
                </a:extLst>
              </p:cNvPr>
              <p:cNvCxnSpPr/>
              <p:nvPr/>
            </p:nvCxnSpPr>
            <p:spPr>
              <a:xfrm flipV="1">
                <a:off x="2030413" y="1625076"/>
                <a:ext cx="492125" cy="816064"/>
              </a:xfrm>
              <a:prstGeom prst="line">
                <a:avLst/>
              </a:prstGeom>
              <a:ln w="57150">
                <a:solidFill>
                  <a:srgbClr val="44464A"/>
                </a:solidFill>
              </a:ln>
            </p:spPr>
            <p:style>
              <a:lnRef idx="1">
                <a:schemeClr val="accent1"/>
              </a:lnRef>
              <a:fillRef idx="0">
                <a:schemeClr val="accent1"/>
              </a:fillRef>
              <a:effectRef idx="0">
                <a:schemeClr val="accent1"/>
              </a:effectRef>
              <a:fontRef idx="minor">
                <a:schemeClr val="tx1"/>
              </a:fontRef>
            </p:style>
          </p:cxnSp>
          <p:cxnSp>
            <p:nvCxnSpPr>
              <p:cNvPr id="17" name="Conector recto 16">
                <a:extLst>
                  <a:ext uri="{FF2B5EF4-FFF2-40B4-BE49-F238E27FC236}">
                    <a16:creationId xmlns:a16="http://schemas.microsoft.com/office/drawing/2014/main" id="{ECDD69F1-2BC3-4FA0-848C-D9B92527FC55}"/>
                  </a:ext>
                </a:extLst>
              </p:cNvPr>
              <p:cNvCxnSpPr/>
              <p:nvPr/>
            </p:nvCxnSpPr>
            <p:spPr>
              <a:xfrm flipH="1" flipV="1">
                <a:off x="2441575" y="1583797"/>
                <a:ext cx="42863" cy="134953"/>
              </a:xfrm>
              <a:prstGeom prst="line">
                <a:avLst/>
              </a:prstGeom>
              <a:ln w="28575">
                <a:solidFill>
                  <a:srgbClr val="44464A"/>
                </a:solidFill>
              </a:ln>
            </p:spPr>
            <p:style>
              <a:lnRef idx="1">
                <a:schemeClr val="accent1"/>
              </a:lnRef>
              <a:fillRef idx="0">
                <a:schemeClr val="accent1"/>
              </a:fillRef>
              <a:effectRef idx="0">
                <a:schemeClr val="accent1"/>
              </a:effectRef>
              <a:fontRef idx="minor">
                <a:schemeClr val="tx1"/>
              </a:fontRef>
            </p:style>
          </p:cxnSp>
          <p:cxnSp>
            <p:nvCxnSpPr>
              <p:cNvPr id="18" name="Conector recto 17">
                <a:extLst>
                  <a:ext uri="{FF2B5EF4-FFF2-40B4-BE49-F238E27FC236}">
                    <a16:creationId xmlns:a16="http://schemas.microsoft.com/office/drawing/2014/main" id="{A8E5C527-C171-4788-A9C4-9E325BC4F8C4}"/>
                  </a:ext>
                </a:extLst>
              </p:cNvPr>
              <p:cNvCxnSpPr/>
              <p:nvPr/>
            </p:nvCxnSpPr>
            <p:spPr>
              <a:xfrm flipH="1" flipV="1">
                <a:off x="2387600" y="1625076"/>
                <a:ext cx="49213" cy="166706"/>
              </a:xfrm>
              <a:prstGeom prst="line">
                <a:avLst/>
              </a:prstGeom>
              <a:ln w="28575">
                <a:solidFill>
                  <a:srgbClr val="44464A"/>
                </a:solidFill>
              </a:ln>
            </p:spPr>
            <p:style>
              <a:lnRef idx="1">
                <a:schemeClr val="accent1"/>
              </a:lnRef>
              <a:fillRef idx="0">
                <a:schemeClr val="accent1"/>
              </a:fillRef>
              <a:effectRef idx="0">
                <a:schemeClr val="accent1"/>
              </a:effectRef>
              <a:fontRef idx="minor">
                <a:schemeClr val="tx1"/>
              </a:fontRef>
            </p:style>
          </p:cxnSp>
          <p:cxnSp>
            <p:nvCxnSpPr>
              <p:cNvPr id="19" name="Conector recto 18">
                <a:extLst>
                  <a:ext uri="{FF2B5EF4-FFF2-40B4-BE49-F238E27FC236}">
                    <a16:creationId xmlns:a16="http://schemas.microsoft.com/office/drawing/2014/main" id="{CFDDC358-A982-40C2-AEEE-ADC6450C2F1C}"/>
                  </a:ext>
                </a:extLst>
              </p:cNvPr>
              <p:cNvCxnSpPr/>
              <p:nvPr/>
            </p:nvCxnSpPr>
            <p:spPr>
              <a:xfrm flipH="1">
                <a:off x="2466975" y="1672707"/>
                <a:ext cx="134938" cy="28578"/>
              </a:xfrm>
              <a:prstGeom prst="line">
                <a:avLst/>
              </a:prstGeom>
              <a:ln w="28575">
                <a:solidFill>
                  <a:srgbClr val="44464A"/>
                </a:solidFill>
              </a:ln>
            </p:spPr>
            <p:style>
              <a:lnRef idx="1">
                <a:schemeClr val="accent1"/>
              </a:lnRef>
              <a:fillRef idx="0">
                <a:schemeClr val="accent1"/>
              </a:fillRef>
              <a:effectRef idx="0">
                <a:schemeClr val="accent1"/>
              </a:effectRef>
              <a:fontRef idx="minor">
                <a:schemeClr val="tx1"/>
              </a:fontRef>
            </p:style>
          </p:cxnSp>
          <p:cxnSp>
            <p:nvCxnSpPr>
              <p:cNvPr id="20" name="Conector recto 19">
                <a:extLst>
                  <a:ext uri="{FF2B5EF4-FFF2-40B4-BE49-F238E27FC236}">
                    <a16:creationId xmlns:a16="http://schemas.microsoft.com/office/drawing/2014/main" id="{C40C8B7D-8431-4EBF-B619-19AA5763D002}"/>
                  </a:ext>
                </a:extLst>
              </p:cNvPr>
              <p:cNvCxnSpPr/>
              <p:nvPr/>
            </p:nvCxnSpPr>
            <p:spPr>
              <a:xfrm flipH="1">
                <a:off x="2425700" y="1740977"/>
                <a:ext cx="166688" cy="38104"/>
              </a:xfrm>
              <a:prstGeom prst="line">
                <a:avLst/>
              </a:prstGeom>
              <a:ln w="28575">
                <a:solidFill>
                  <a:srgbClr val="44464A"/>
                </a:solidFill>
              </a:ln>
            </p:spPr>
            <p:style>
              <a:lnRef idx="1">
                <a:schemeClr val="accent1"/>
              </a:lnRef>
              <a:fillRef idx="0">
                <a:schemeClr val="accent1"/>
              </a:fillRef>
              <a:effectRef idx="0">
                <a:schemeClr val="accent1"/>
              </a:effectRef>
              <a:fontRef idx="minor">
                <a:schemeClr val="tx1"/>
              </a:fontRef>
            </p:style>
          </p:cxnSp>
        </p:grpSp>
      </p:grpSp>
      <p:sp>
        <p:nvSpPr>
          <p:cNvPr id="2" name="Rectángulo 1">
            <a:extLst>
              <a:ext uri="{FF2B5EF4-FFF2-40B4-BE49-F238E27FC236}">
                <a16:creationId xmlns:a16="http://schemas.microsoft.com/office/drawing/2014/main" id="{C3462781-0EA1-48D2-A6DD-0F82AB912EAC}"/>
              </a:ext>
            </a:extLst>
          </p:cNvPr>
          <p:cNvSpPr/>
          <p:nvPr/>
        </p:nvSpPr>
        <p:spPr>
          <a:xfrm>
            <a:off x="6381093" y="626308"/>
            <a:ext cx="2438488" cy="400110"/>
          </a:xfrm>
          <a:prstGeom prst="rect">
            <a:avLst/>
          </a:prstGeom>
        </p:spPr>
        <p:txBody>
          <a:bodyPr wrap="none">
            <a:spAutoFit/>
          </a:bodyPr>
          <a:lstStyle/>
          <a:p>
            <a:pPr lvl="0"/>
            <a:r>
              <a:rPr lang="es-ES" sz="2000" b="1" dirty="0">
                <a:solidFill>
                  <a:srgbClr val="92D050"/>
                </a:solidFill>
                <a:latin typeface="Trebuchet MS" panose="020B0603020202020204" pitchFamily="34" charset="0"/>
                <a:ea typeface="+mj-ea"/>
                <a:cs typeface="+mj-cs"/>
              </a:rPr>
              <a:t>Análisis</a:t>
            </a:r>
            <a:r>
              <a:rPr lang="es-ES" sz="2000" b="1" dirty="0">
                <a:latin typeface="Roboto Slab Light" panose="020B0604020202020204" charset="0"/>
                <a:ea typeface="Roboto Slab Light" panose="020B0604020202020204" charset="0"/>
              </a:rPr>
              <a:t> </a:t>
            </a:r>
            <a:r>
              <a:rPr lang="es-ES" sz="2000" b="1" dirty="0">
                <a:solidFill>
                  <a:srgbClr val="92D050"/>
                </a:solidFill>
                <a:latin typeface="Trebuchet MS" panose="020B0603020202020204" pitchFamily="34" charset="0"/>
                <a:ea typeface="+mj-ea"/>
                <a:cs typeface="+mj-cs"/>
              </a:rPr>
              <a:t>Estadístico</a:t>
            </a:r>
          </a:p>
        </p:txBody>
      </p:sp>
      <p:sp>
        <p:nvSpPr>
          <p:cNvPr id="76" name="Rectángulo 75">
            <a:extLst>
              <a:ext uri="{FF2B5EF4-FFF2-40B4-BE49-F238E27FC236}">
                <a16:creationId xmlns:a16="http://schemas.microsoft.com/office/drawing/2014/main" id="{64200CEA-F261-4DD7-9820-EF5F19D9CA5F}"/>
              </a:ext>
            </a:extLst>
          </p:cNvPr>
          <p:cNvSpPr/>
          <p:nvPr/>
        </p:nvSpPr>
        <p:spPr>
          <a:xfrm>
            <a:off x="6398152" y="917434"/>
            <a:ext cx="3878387" cy="632481"/>
          </a:xfrm>
          <a:prstGeom prst="rect">
            <a:avLst/>
          </a:prstGeom>
        </p:spPr>
        <p:txBody>
          <a:bodyPr wrap="square">
            <a:spAutoFit/>
          </a:bodyPr>
          <a:lstStyle/>
          <a:p>
            <a:pPr marL="114300" lvl="1" indent="-114300" defTabSz="533400">
              <a:lnSpc>
                <a:spcPct val="90000"/>
              </a:lnSpc>
              <a:spcBef>
                <a:spcPct val="0"/>
              </a:spcBef>
              <a:spcAft>
                <a:spcPct val="15000"/>
              </a:spcAft>
              <a:buChar char="•"/>
            </a:pPr>
            <a:r>
              <a:rPr lang="es-MX" dirty="0">
                <a:solidFill>
                  <a:schemeClr val="bg1">
                    <a:lumMod val="50000"/>
                  </a:schemeClr>
                </a:solidFill>
                <a:latin typeface="Trebuchet MS" panose="020B0603020202020204" pitchFamily="34" charset="0"/>
                <a:cs typeface="Times New Roman" panose="02020603050405020304" pitchFamily="18" charset="0"/>
              </a:rPr>
              <a:t>AB </a:t>
            </a:r>
            <a:r>
              <a:rPr lang="es-MX" dirty="0" err="1">
                <a:solidFill>
                  <a:schemeClr val="bg1">
                    <a:lumMod val="50000"/>
                  </a:schemeClr>
                </a:solidFill>
                <a:latin typeface="Trebuchet MS" panose="020B0603020202020204" pitchFamily="34" charset="0"/>
                <a:cs typeface="Times New Roman" panose="02020603050405020304" pitchFamily="18" charset="0"/>
              </a:rPr>
              <a:t>Testing</a:t>
            </a:r>
            <a:endParaRPr lang="es-MX" dirty="0">
              <a:solidFill>
                <a:schemeClr val="bg1">
                  <a:lumMod val="50000"/>
                </a:schemeClr>
              </a:solidFill>
              <a:latin typeface="Trebuchet MS" panose="020B0603020202020204" pitchFamily="34" charset="0"/>
              <a:cs typeface="Times New Roman" panose="02020603050405020304" pitchFamily="18" charset="0"/>
            </a:endParaRPr>
          </a:p>
          <a:p>
            <a:pPr marL="114300" lvl="1" indent="-114300" defTabSz="533400">
              <a:lnSpc>
                <a:spcPct val="90000"/>
              </a:lnSpc>
              <a:spcBef>
                <a:spcPct val="0"/>
              </a:spcBef>
              <a:spcAft>
                <a:spcPct val="15000"/>
              </a:spcAft>
              <a:buChar char="•"/>
            </a:pPr>
            <a:r>
              <a:rPr lang="es-MX" dirty="0">
                <a:solidFill>
                  <a:schemeClr val="bg1">
                    <a:lumMod val="50000"/>
                  </a:schemeClr>
                </a:solidFill>
                <a:latin typeface="Trebuchet MS" panose="020B0603020202020204" pitchFamily="34" charset="0"/>
                <a:cs typeface="Times New Roman" panose="02020603050405020304" pitchFamily="18" charset="0"/>
              </a:rPr>
              <a:t>Correlación</a:t>
            </a:r>
          </a:p>
        </p:txBody>
      </p:sp>
      <p:sp>
        <p:nvSpPr>
          <p:cNvPr id="77" name="Rectángulo 76">
            <a:extLst>
              <a:ext uri="{FF2B5EF4-FFF2-40B4-BE49-F238E27FC236}">
                <a16:creationId xmlns:a16="http://schemas.microsoft.com/office/drawing/2014/main" id="{D5FBCC68-829B-476C-9340-4A6FCD748DE0}"/>
              </a:ext>
            </a:extLst>
          </p:cNvPr>
          <p:cNvSpPr/>
          <p:nvPr/>
        </p:nvSpPr>
        <p:spPr>
          <a:xfrm>
            <a:off x="6383475" y="5230037"/>
            <a:ext cx="2403222" cy="400110"/>
          </a:xfrm>
          <a:prstGeom prst="rect">
            <a:avLst/>
          </a:prstGeom>
        </p:spPr>
        <p:txBody>
          <a:bodyPr wrap="none">
            <a:spAutoFit/>
          </a:bodyPr>
          <a:lstStyle/>
          <a:p>
            <a:pPr lvl="0"/>
            <a:r>
              <a:rPr lang="es-ES" sz="2000" b="1" dirty="0">
                <a:solidFill>
                  <a:srgbClr val="92D050"/>
                </a:solidFill>
                <a:latin typeface="Trebuchet MS" panose="020B0603020202020204" pitchFamily="34" charset="0"/>
                <a:ea typeface="+mj-ea"/>
                <a:cs typeface="+mj-cs"/>
              </a:rPr>
              <a:t>Análisis Semántico</a:t>
            </a:r>
          </a:p>
        </p:txBody>
      </p:sp>
      <p:sp>
        <p:nvSpPr>
          <p:cNvPr id="79" name="Rectángulo 78">
            <a:extLst>
              <a:ext uri="{FF2B5EF4-FFF2-40B4-BE49-F238E27FC236}">
                <a16:creationId xmlns:a16="http://schemas.microsoft.com/office/drawing/2014/main" id="{2D7B71B0-7BC5-48E6-877C-4F330E60A39B}"/>
              </a:ext>
            </a:extLst>
          </p:cNvPr>
          <p:cNvSpPr/>
          <p:nvPr/>
        </p:nvSpPr>
        <p:spPr>
          <a:xfrm>
            <a:off x="6288884" y="2416970"/>
            <a:ext cx="1345374" cy="89832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81" name="Rectángulo 80">
            <a:extLst>
              <a:ext uri="{FF2B5EF4-FFF2-40B4-BE49-F238E27FC236}">
                <a16:creationId xmlns:a16="http://schemas.microsoft.com/office/drawing/2014/main" id="{32CDE255-4BD5-48C0-A41C-AF088EBFAE30}"/>
              </a:ext>
            </a:extLst>
          </p:cNvPr>
          <p:cNvSpPr/>
          <p:nvPr/>
        </p:nvSpPr>
        <p:spPr>
          <a:xfrm>
            <a:off x="6370082" y="5574192"/>
            <a:ext cx="4663678" cy="923330"/>
          </a:xfrm>
          <a:prstGeom prst="rect">
            <a:avLst/>
          </a:prstGeom>
        </p:spPr>
        <p:txBody>
          <a:bodyPr wrap="square">
            <a:spAutoFit/>
          </a:bodyPr>
          <a:lstStyle/>
          <a:p>
            <a:pPr marL="114300" lvl="1" indent="-114300" defTabSz="533400">
              <a:spcBef>
                <a:spcPct val="0"/>
              </a:spcBef>
              <a:buChar char="•"/>
            </a:pPr>
            <a:r>
              <a:rPr lang="es-ES" dirty="0">
                <a:solidFill>
                  <a:schemeClr val="bg1">
                    <a:lumMod val="50000"/>
                  </a:schemeClr>
                </a:solidFill>
                <a:latin typeface="Trebuchet MS" panose="020B0603020202020204" pitchFamily="34" charset="0"/>
                <a:cs typeface="Times New Roman" panose="02020603050405020304" pitchFamily="18" charset="0"/>
              </a:rPr>
              <a:t>Procesamiento de Lenguaje Natural (NLP)</a:t>
            </a:r>
          </a:p>
          <a:p>
            <a:pPr marL="114300" lvl="1" indent="-114300" defTabSz="533400">
              <a:spcBef>
                <a:spcPct val="0"/>
              </a:spcBef>
              <a:buChar char="•"/>
            </a:pPr>
            <a:r>
              <a:rPr lang="es-ES" dirty="0">
                <a:solidFill>
                  <a:schemeClr val="bg1">
                    <a:lumMod val="50000"/>
                  </a:schemeClr>
                </a:solidFill>
                <a:latin typeface="Trebuchet MS" panose="020B0603020202020204" pitchFamily="34" charset="0"/>
                <a:cs typeface="Times New Roman" panose="02020603050405020304" pitchFamily="18" charset="0"/>
              </a:rPr>
              <a:t>Analítica de Texto/Minería de Texto</a:t>
            </a:r>
          </a:p>
          <a:p>
            <a:pPr marL="114300" lvl="1" indent="-114300" defTabSz="533400">
              <a:spcBef>
                <a:spcPct val="0"/>
              </a:spcBef>
              <a:buFontTx/>
              <a:buChar char="•"/>
            </a:pPr>
            <a:r>
              <a:rPr lang="es-ES" dirty="0">
                <a:solidFill>
                  <a:schemeClr val="bg1">
                    <a:lumMod val="50000"/>
                  </a:schemeClr>
                </a:solidFill>
                <a:latin typeface="Trebuchet MS" panose="020B0603020202020204" pitchFamily="34" charset="0"/>
                <a:cs typeface="Times New Roman" panose="02020603050405020304" pitchFamily="18" charset="0"/>
              </a:rPr>
              <a:t>Análisis de sentimientos</a:t>
            </a:r>
          </a:p>
        </p:txBody>
      </p:sp>
      <p:sp>
        <p:nvSpPr>
          <p:cNvPr id="82" name="Rectángulo 81">
            <a:extLst>
              <a:ext uri="{FF2B5EF4-FFF2-40B4-BE49-F238E27FC236}">
                <a16:creationId xmlns:a16="http://schemas.microsoft.com/office/drawing/2014/main" id="{5A51690E-443C-4CB7-89FD-4769DC8C9F22}"/>
              </a:ext>
            </a:extLst>
          </p:cNvPr>
          <p:cNvSpPr/>
          <p:nvPr/>
        </p:nvSpPr>
        <p:spPr>
          <a:xfrm>
            <a:off x="6401031" y="3401288"/>
            <a:ext cx="3086101" cy="400110"/>
          </a:xfrm>
          <a:prstGeom prst="rect">
            <a:avLst/>
          </a:prstGeom>
        </p:spPr>
        <p:txBody>
          <a:bodyPr wrap="none">
            <a:spAutoFit/>
          </a:bodyPr>
          <a:lstStyle/>
          <a:p>
            <a:pPr lvl="0"/>
            <a:r>
              <a:rPr lang="es-ES" sz="2000" b="1" dirty="0">
                <a:solidFill>
                  <a:srgbClr val="92D050"/>
                </a:solidFill>
                <a:latin typeface="Trebuchet MS" panose="020B0603020202020204" pitchFamily="34" charset="0"/>
                <a:ea typeface="+mj-ea"/>
                <a:cs typeface="+mj-cs"/>
              </a:rPr>
              <a:t>Aprendizaje de Máquina</a:t>
            </a:r>
          </a:p>
        </p:txBody>
      </p:sp>
      <p:sp>
        <p:nvSpPr>
          <p:cNvPr id="83" name="Rectángulo 82">
            <a:extLst>
              <a:ext uri="{FF2B5EF4-FFF2-40B4-BE49-F238E27FC236}">
                <a16:creationId xmlns:a16="http://schemas.microsoft.com/office/drawing/2014/main" id="{6CDA7EBE-0EFB-4A4B-816A-8E43AD1EE9C2}"/>
              </a:ext>
            </a:extLst>
          </p:cNvPr>
          <p:cNvSpPr/>
          <p:nvPr/>
        </p:nvSpPr>
        <p:spPr>
          <a:xfrm>
            <a:off x="6401031" y="3726458"/>
            <a:ext cx="3878387" cy="1505027"/>
          </a:xfrm>
          <a:prstGeom prst="rect">
            <a:avLst/>
          </a:prstGeom>
        </p:spPr>
        <p:txBody>
          <a:bodyPr wrap="square">
            <a:spAutoFit/>
          </a:bodyPr>
          <a:lstStyle/>
          <a:p>
            <a:pPr marL="114300" lvl="1" indent="-114300" defTabSz="533400">
              <a:lnSpc>
                <a:spcPct val="90000"/>
              </a:lnSpc>
              <a:spcBef>
                <a:spcPct val="0"/>
              </a:spcBef>
              <a:spcAft>
                <a:spcPct val="15000"/>
              </a:spcAft>
              <a:buFontTx/>
              <a:buChar char="•"/>
            </a:pPr>
            <a:r>
              <a:rPr lang="es-MX" dirty="0">
                <a:solidFill>
                  <a:schemeClr val="bg1">
                    <a:lumMod val="50000"/>
                  </a:schemeClr>
                </a:solidFill>
                <a:latin typeface="Trebuchet MS" panose="020B0603020202020204" pitchFamily="34" charset="0"/>
                <a:cs typeface="Times New Roman" panose="02020603050405020304" pitchFamily="18" charset="0"/>
              </a:rPr>
              <a:t>Regresión</a:t>
            </a:r>
          </a:p>
          <a:p>
            <a:pPr marL="114300" lvl="1" indent="-114300" defTabSz="533400">
              <a:lnSpc>
                <a:spcPct val="90000"/>
              </a:lnSpc>
              <a:spcBef>
                <a:spcPct val="0"/>
              </a:spcBef>
              <a:spcAft>
                <a:spcPct val="15000"/>
              </a:spcAft>
              <a:buChar char="•"/>
            </a:pPr>
            <a:r>
              <a:rPr lang="es-MX" dirty="0">
                <a:solidFill>
                  <a:schemeClr val="bg1">
                    <a:lumMod val="50000"/>
                  </a:schemeClr>
                </a:solidFill>
                <a:latin typeface="Trebuchet MS" panose="020B0603020202020204" pitchFamily="34" charset="0"/>
                <a:cs typeface="Times New Roman" panose="02020603050405020304" pitchFamily="18" charset="0"/>
              </a:rPr>
              <a:t>Clasificación </a:t>
            </a:r>
          </a:p>
          <a:p>
            <a:pPr marL="114300" lvl="1" indent="-114300" defTabSz="533400">
              <a:lnSpc>
                <a:spcPct val="90000"/>
              </a:lnSpc>
              <a:spcBef>
                <a:spcPct val="0"/>
              </a:spcBef>
              <a:spcAft>
                <a:spcPct val="15000"/>
              </a:spcAft>
              <a:buChar char="•"/>
            </a:pPr>
            <a:r>
              <a:rPr lang="es-MX" dirty="0" err="1">
                <a:solidFill>
                  <a:schemeClr val="bg1">
                    <a:lumMod val="50000"/>
                  </a:schemeClr>
                </a:solidFill>
                <a:latin typeface="Trebuchet MS" panose="020B0603020202020204" pitchFamily="34" charset="0"/>
                <a:cs typeface="Times New Roman" panose="02020603050405020304" pitchFamily="18" charset="0"/>
              </a:rPr>
              <a:t>Clustering</a:t>
            </a:r>
            <a:r>
              <a:rPr lang="es-MX" dirty="0">
                <a:solidFill>
                  <a:schemeClr val="bg1">
                    <a:lumMod val="50000"/>
                  </a:schemeClr>
                </a:solidFill>
                <a:latin typeface="Trebuchet MS" panose="020B0603020202020204" pitchFamily="34" charset="0"/>
                <a:cs typeface="Times New Roman" panose="02020603050405020304" pitchFamily="18" charset="0"/>
              </a:rPr>
              <a:t> (Agrupamiento)</a:t>
            </a:r>
          </a:p>
          <a:p>
            <a:pPr marL="114300" lvl="1" indent="-114300" defTabSz="533400">
              <a:lnSpc>
                <a:spcPct val="90000"/>
              </a:lnSpc>
              <a:spcBef>
                <a:spcPct val="0"/>
              </a:spcBef>
              <a:spcAft>
                <a:spcPct val="15000"/>
              </a:spcAft>
              <a:buChar char="•"/>
            </a:pPr>
            <a:r>
              <a:rPr lang="es-MX" dirty="0">
                <a:solidFill>
                  <a:schemeClr val="bg1">
                    <a:lumMod val="50000"/>
                  </a:schemeClr>
                </a:solidFill>
                <a:latin typeface="Trebuchet MS" panose="020B0603020202020204" pitchFamily="34" charset="0"/>
                <a:cs typeface="Times New Roman" panose="02020603050405020304" pitchFamily="18" charset="0"/>
              </a:rPr>
              <a:t>Detección de datos atípicos</a:t>
            </a:r>
          </a:p>
          <a:p>
            <a:pPr marL="114300" lvl="1" indent="-114300" defTabSz="533400">
              <a:lnSpc>
                <a:spcPct val="90000"/>
              </a:lnSpc>
              <a:spcBef>
                <a:spcPct val="0"/>
              </a:spcBef>
              <a:spcAft>
                <a:spcPct val="15000"/>
              </a:spcAft>
              <a:buChar char="•"/>
            </a:pPr>
            <a:r>
              <a:rPr lang="es-MX" dirty="0">
                <a:solidFill>
                  <a:schemeClr val="bg1">
                    <a:lumMod val="50000"/>
                  </a:schemeClr>
                </a:solidFill>
                <a:latin typeface="Trebuchet MS" panose="020B0603020202020204" pitchFamily="34" charset="0"/>
                <a:cs typeface="Times New Roman" panose="02020603050405020304" pitchFamily="18" charset="0"/>
              </a:rPr>
              <a:t>Filtrado</a:t>
            </a:r>
          </a:p>
        </p:txBody>
      </p:sp>
      <p:sp>
        <p:nvSpPr>
          <p:cNvPr id="84" name="Rectángulo 83">
            <a:extLst>
              <a:ext uri="{FF2B5EF4-FFF2-40B4-BE49-F238E27FC236}">
                <a16:creationId xmlns:a16="http://schemas.microsoft.com/office/drawing/2014/main" id="{6F657924-3C34-4A16-B129-80352006D9A4}"/>
              </a:ext>
            </a:extLst>
          </p:cNvPr>
          <p:cNvSpPr/>
          <p:nvPr/>
        </p:nvSpPr>
        <p:spPr>
          <a:xfrm>
            <a:off x="6368235" y="1842889"/>
            <a:ext cx="1866408" cy="400110"/>
          </a:xfrm>
          <a:prstGeom prst="rect">
            <a:avLst/>
          </a:prstGeom>
        </p:spPr>
        <p:txBody>
          <a:bodyPr wrap="none">
            <a:spAutoFit/>
          </a:bodyPr>
          <a:lstStyle/>
          <a:p>
            <a:pPr lvl="0"/>
            <a:r>
              <a:rPr lang="es-ES" sz="2000" b="1" dirty="0">
                <a:solidFill>
                  <a:srgbClr val="92D050"/>
                </a:solidFill>
                <a:latin typeface="Trebuchet MS" panose="020B0603020202020204" pitchFamily="34" charset="0"/>
                <a:ea typeface="+mj-ea"/>
                <a:cs typeface="+mj-cs"/>
              </a:rPr>
              <a:t>Análisis Visual</a:t>
            </a:r>
          </a:p>
        </p:txBody>
      </p:sp>
      <p:sp>
        <p:nvSpPr>
          <p:cNvPr id="85" name="Rectángulo 84">
            <a:extLst>
              <a:ext uri="{FF2B5EF4-FFF2-40B4-BE49-F238E27FC236}">
                <a16:creationId xmlns:a16="http://schemas.microsoft.com/office/drawing/2014/main" id="{A9DD3092-159E-43FF-82DE-BBC5D724B936}"/>
              </a:ext>
            </a:extLst>
          </p:cNvPr>
          <p:cNvSpPr/>
          <p:nvPr/>
        </p:nvSpPr>
        <p:spPr>
          <a:xfrm>
            <a:off x="6319904" y="2163447"/>
            <a:ext cx="3878387" cy="1214179"/>
          </a:xfrm>
          <a:prstGeom prst="rect">
            <a:avLst/>
          </a:prstGeom>
        </p:spPr>
        <p:txBody>
          <a:bodyPr wrap="square">
            <a:spAutoFit/>
          </a:bodyPr>
          <a:lstStyle/>
          <a:p>
            <a:pPr marL="114300" lvl="1" indent="-114300" defTabSz="533400">
              <a:lnSpc>
                <a:spcPct val="90000"/>
              </a:lnSpc>
              <a:spcBef>
                <a:spcPct val="0"/>
              </a:spcBef>
              <a:spcAft>
                <a:spcPct val="15000"/>
              </a:spcAft>
              <a:buChar char="•"/>
            </a:pPr>
            <a:r>
              <a:rPr lang="es-MX" dirty="0">
                <a:solidFill>
                  <a:schemeClr val="bg1">
                    <a:lumMod val="50000"/>
                  </a:schemeClr>
                </a:solidFill>
                <a:latin typeface="Trebuchet MS" panose="020B0603020202020204" pitchFamily="34" charset="0"/>
                <a:cs typeface="Times New Roman" panose="02020603050405020304" pitchFamily="18" charset="0"/>
              </a:rPr>
              <a:t>Mapas de calor</a:t>
            </a:r>
          </a:p>
          <a:p>
            <a:pPr marL="114300" lvl="1" indent="-114300" defTabSz="533400">
              <a:lnSpc>
                <a:spcPct val="90000"/>
              </a:lnSpc>
              <a:spcBef>
                <a:spcPct val="0"/>
              </a:spcBef>
              <a:spcAft>
                <a:spcPct val="15000"/>
              </a:spcAft>
              <a:buChar char="•"/>
            </a:pPr>
            <a:r>
              <a:rPr lang="es-MX" dirty="0">
                <a:solidFill>
                  <a:schemeClr val="bg1">
                    <a:lumMod val="50000"/>
                  </a:schemeClr>
                </a:solidFill>
                <a:latin typeface="Trebuchet MS" panose="020B0603020202020204" pitchFamily="34" charset="0"/>
                <a:cs typeface="Times New Roman" panose="02020603050405020304" pitchFamily="18" charset="0"/>
              </a:rPr>
              <a:t>Series de tiempo</a:t>
            </a:r>
          </a:p>
          <a:p>
            <a:pPr marL="114300" lvl="1" indent="-114300" defTabSz="533400">
              <a:lnSpc>
                <a:spcPct val="90000"/>
              </a:lnSpc>
              <a:spcBef>
                <a:spcPct val="0"/>
              </a:spcBef>
              <a:spcAft>
                <a:spcPct val="15000"/>
              </a:spcAft>
              <a:buChar char="•"/>
            </a:pPr>
            <a:r>
              <a:rPr lang="es-MX" dirty="0">
                <a:solidFill>
                  <a:schemeClr val="bg1">
                    <a:lumMod val="50000"/>
                  </a:schemeClr>
                </a:solidFill>
                <a:latin typeface="Trebuchet MS" panose="020B0603020202020204" pitchFamily="34" charset="0"/>
                <a:cs typeface="Times New Roman" panose="02020603050405020304" pitchFamily="18" charset="0"/>
              </a:rPr>
              <a:t>Análisis de redes</a:t>
            </a:r>
          </a:p>
          <a:p>
            <a:pPr marL="114300" lvl="1" indent="-114300" defTabSz="533400">
              <a:lnSpc>
                <a:spcPct val="90000"/>
              </a:lnSpc>
              <a:spcBef>
                <a:spcPct val="0"/>
              </a:spcBef>
              <a:spcAft>
                <a:spcPct val="15000"/>
              </a:spcAft>
              <a:buChar char="•"/>
            </a:pPr>
            <a:r>
              <a:rPr lang="es-MX" dirty="0">
                <a:solidFill>
                  <a:schemeClr val="bg1">
                    <a:lumMod val="50000"/>
                  </a:schemeClr>
                </a:solidFill>
                <a:latin typeface="Trebuchet MS" panose="020B0603020202020204" pitchFamily="34" charset="0"/>
                <a:cs typeface="Times New Roman" panose="02020603050405020304" pitchFamily="18" charset="0"/>
              </a:rPr>
              <a:t>Análisis de datos espaciales</a:t>
            </a:r>
          </a:p>
        </p:txBody>
      </p:sp>
    </p:spTree>
    <p:extLst>
      <p:ext uri="{BB962C8B-B14F-4D97-AF65-F5344CB8AC3E}">
        <p14:creationId xmlns:p14="http://schemas.microsoft.com/office/powerpoint/2010/main" val="18485510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a16="http://schemas.microsoft.com/office/drawing/2014/main" id="{486A04CD-2A41-4DDA-92F0-C9F5DF16BA8A}"/>
              </a:ext>
            </a:extLst>
          </p:cNvPr>
          <p:cNvSpPr>
            <a:spLocks noGrp="1"/>
          </p:cNvSpPr>
          <p:nvPr>
            <p:ph type="sldNum" sz="quarter" idx="12"/>
          </p:nvPr>
        </p:nvSpPr>
        <p:spPr/>
        <p:txBody>
          <a:bodyPr/>
          <a:lstStyle/>
          <a:p>
            <a:fld id="{7F69A413-E501-443A-8AEB-75E16CE63E79}" type="slidenum">
              <a:rPr lang="es-CO" smtClean="0"/>
              <a:t>41</a:t>
            </a:fld>
            <a:endParaRPr lang="es-CO" dirty="0"/>
          </a:p>
        </p:txBody>
      </p:sp>
      <p:sp>
        <p:nvSpPr>
          <p:cNvPr id="7" name="CuadroTexto 6">
            <a:extLst>
              <a:ext uri="{FF2B5EF4-FFF2-40B4-BE49-F238E27FC236}">
                <a16:creationId xmlns:a16="http://schemas.microsoft.com/office/drawing/2014/main" id="{7F489B6A-E241-4D8A-A162-7FF9677BC5E4}"/>
              </a:ext>
            </a:extLst>
          </p:cNvPr>
          <p:cNvSpPr txBox="1"/>
          <p:nvPr/>
        </p:nvSpPr>
        <p:spPr>
          <a:xfrm>
            <a:off x="327991" y="260460"/>
            <a:ext cx="6052931" cy="523220"/>
          </a:xfrm>
          <a:prstGeom prst="rect">
            <a:avLst/>
          </a:prstGeom>
          <a:noFill/>
        </p:spPr>
        <p:txBody>
          <a:bodyPr wrap="square" rtlCol="0">
            <a:spAutoFit/>
          </a:bodyPr>
          <a:lstStyle/>
          <a:p>
            <a:r>
              <a:rPr lang="es-CO" sz="2800" b="1" dirty="0" smtClean="0"/>
              <a:t>Tipos de Aprendizaje</a:t>
            </a:r>
            <a:endParaRPr lang="es-CO" sz="2800" b="1" dirty="0"/>
          </a:p>
        </p:txBody>
      </p:sp>
      <p:pic>
        <p:nvPicPr>
          <p:cNvPr id="24" name="Picture 2" descr="Tipos de aprendizaje computacional (machine learning) – Aprendizaje por  refuerzo, supervisado y no supervisado – IberAsync.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6933" y="1050176"/>
            <a:ext cx="7785267" cy="41606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688245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a16="http://schemas.microsoft.com/office/drawing/2014/main" id="{486A04CD-2A41-4DDA-92F0-C9F5DF16BA8A}"/>
              </a:ext>
            </a:extLst>
          </p:cNvPr>
          <p:cNvSpPr>
            <a:spLocks noGrp="1"/>
          </p:cNvSpPr>
          <p:nvPr>
            <p:ph type="sldNum" sz="quarter" idx="12"/>
          </p:nvPr>
        </p:nvSpPr>
        <p:spPr/>
        <p:txBody>
          <a:bodyPr/>
          <a:lstStyle/>
          <a:p>
            <a:fld id="{7F69A413-E501-443A-8AEB-75E16CE63E79}" type="slidenum">
              <a:rPr lang="es-CO" smtClean="0"/>
              <a:t>42</a:t>
            </a:fld>
            <a:endParaRPr lang="es-CO" dirty="0"/>
          </a:p>
        </p:txBody>
      </p:sp>
      <p:sp>
        <p:nvSpPr>
          <p:cNvPr id="8" name="Rectángulo 7"/>
          <p:cNvSpPr/>
          <p:nvPr/>
        </p:nvSpPr>
        <p:spPr>
          <a:xfrm>
            <a:off x="6096000" y="3284786"/>
            <a:ext cx="5696565" cy="2585323"/>
          </a:xfrm>
          <a:prstGeom prst="rect">
            <a:avLst/>
          </a:prstGeom>
        </p:spPr>
        <p:txBody>
          <a:bodyPr wrap="square">
            <a:spAutoFit/>
          </a:bodyPr>
          <a:lstStyle/>
          <a:p>
            <a:pPr algn="ctr"/>
            <a:r>
              <a:rPr lang="es-ES" b="1" dirty="0" smtClean="0">
                <a:solidFill>
                  <a:srgbClr val="FF0000"/>
                </a:solidFill>
                <a:latin typeface="Open Sans"/>
              </a:rPr>
              <a:t>APRENDIZAJE SUPERVISADO</a:t>
            </a:r>
          </a:p>
          <a:p>
            <a:pPr marL="285750" indent="-285750" algn="just">
              <a:buFont typeface="Arial" panose="020B0604020202020204" pitchFamily="34" charset="0"/>
              <a:buChar char="•"/>
            </a:pPr>
            <a:r>
              <a:rPr lang="es-ES" dirty="0">
                <a:solidFill>
                  <a:srgbClr val="666666"/>
                </a:solidFill>
                <a:latin typeface="Open Sans"/>
              </a:rPr>
              <a:t>P</a:t>
            </a:r>
            <a:r>
              <a:rPr lang="es-ES" dirty="0" smtClean="0">
                <a:solidFill>
                  <a:srgbClr val="666666"/>
                </a:solidFill>
                <a:latin typeface="Open Sans"/>
              </a:rPr>
              <a:t>roceso </a:t>
            </a:r>
            <a:r>
              <a:rPr lang="es-ES" dirty="0">
                <a:solidFill>
                  <a:srgbClr val="666666"/>
                </a:solidFill>
                <a:latin typeface="Open Sans"/>
              </a:rPr>
              <a:t>de generación de conocimiento </a:t>
            </a:r>
            <a:r>
              <a:rPr lang="es-ES" dirty="0" smtClean="0">
                <a:solidFill>
                  <a:srgbClr val="666666"/>
                </a:solidFill>
                <a:latin typeface="Open Sans"/>
              </a:rPr>
              <a:t>que se </a:t>
            </a:r>
            <a:r>
              <a:rPr lang="es-ES" dirty="0">
                <a:solidFill>
                  <a:srgbClr val="666666"/>
                </a:solidFill>
                <a:latin typeface="Open Sans"/>
              </a:rPr>
              <a:t>realiza con un grupo de ejemplos o datos </a:t>
            </a:r>
            <a:r>
              <a:rPr lang="es-ES" dirty="0" smtClean="0">
                <a:solidFill>
                  <a:srgbClr val="666666"/>
                </a:solidFill>
                <a:latin typeface="Open Sans"/>
              </a:rPr>
              <a:t>etiquetados </a:t>
            </a:r>
            <a:r>
              <a:rPr lang="es-ES" dirty="0">
                <a:solidFill>
                  <a:srgbClr val="666666"/>
                </a:solidFill>
                <a:latin typeface="Open Sans"/>
              </a:rPr>
              <a:t> en los que los resultados que arroja la operación son conocidos previamente. </a:t>
            </a:r>
            <a:endParaRPr lang="es-ES" dirty="0" smtClean="0">
              <a:solidFill>
                <a:srgbClr val="666666"/>
              </a:solidFill>
              <a:latin typeface="Open Sans"/>
            </a:endParaRPr>
          </a:p>
          <a:p>
            <a:pPr marL="285750" indent="-285750" algn="just">
              <a:buFont typeface="Arial" panose="020B0604020202020204" pitchFamily="34" charset="0"/>
              <a:buChar char="•"/>
            </a:pPr>
            <a:r>
              <a:rPr lang="es-ES" dirty="0" smtClean="0">
                <a:solidFill>
                  <a:srgbClr val="666666"/>
                </a:solidFill>
                <a:latin typeface="Open Sans"/>
              </a:rPr>
              <a:t>Este </a:t>
            </a:r>
            <a:r>
              <a:rPr lang="es-ES" dirty="0">
                <a:solidFill>
                  <a:srgbClr val="666666"/>
                </a:solidFill>
                <a:latin typeface="Open Sans"/>
              </a:rPr>
              <a:t>tipo de modelo aprende de estos resultados e incorpora ajustes en los parámetros interiores para poder adaptarse a datos nuevos que ingresan al sistema</a:t>
            </a:r>
            <a:endParaRPr lang="en-US" dirty="0"/>
          </a:p>
        </p:txBody>
      </p:sp>
      <p:sp>
        <p:nvSpPr>
          <p:cNvPr id="9" name="Rectángulo 8"/>
          <p:cNvSpPr/>
          <p:nvPr/>
        </p:nvSpPr>
        <p:spPr>
          <a:xfrm>
            <a:off x="141232" y="3098698"/>
            <a:ext cx="5746955" cy="2585323"/>
          </a:xfrm>
          <a:prstGeom prst="rect">
            <a:avLst/>
          </a:prstGeom>
        </p:spPr>
        <p:txBody>
          <a:bodyPr wrap="square">
            <a:spAutoFit/>
          </a:bodyPr>
          <a:lstStyle/>
          <a:p>
            <a:pPr algn="ctr"/>
            <a:r>
              <a:rPr lang="es-ES" b="1" dirty="0" smtClean="0">
                <a:solidFill>
                  <a:srgbClr val="FF0000"/>
                </a:solidFill>
                <a:latin typeface="Open Sans"/>
              </a:rPr>
              <a:t>APRENDIZAJE NO SUPERVISADO</a:t>
            </a:r>
          </a:p>
          <a:p>
            <a:pPr marL="285750" indent="-285750" algn="just">
              <a:buFont typeface="Arial" panose="020B0604020202020204" pitchFamily="34" charset="0"/>
              <a:buChar char="•"/>
            </a:pPr>
            <a:r>
              <a:rPr lang="es-ES" dirty="0">
                <a:solidFill>
                  <a:srgbClr val="666666"/>
                </a:solidFill>
                <a:latin typeface="Open Sans"/>
              </a:rPr>
              <a:t>S</a:t>
            </a:r>
            <a:r>
              <a:rPr lang="es-ES" dirty="0" smtClean="0">
                <a:solidFill>
                  <a:srgbClr val="666666"/>
                </a:solidFill>
                <a:latin typeface="Open Sans"/>
              </a:rPr>
              <a:t>e </a:t>
            </a:r>
            <a:r>
              <a:rPr lang="es-ES" dirty="0">
                <a:solidFill>
                  <a:srgbClr val="666666"/>
                </a:solidFill>
                <a:latin typeface="Open Sans"/>
              </a:rPr>
              <a:t>incluyen conjuntos de datos sin etiquetar en los que no se conoce previamente la estructura que estos poseen. </a:t>
            </a:r>
            <a:endParaRPr lang="es-ES" dirty="0" smtClean="0">
              <a:solidFill>
                <a:srgbClr val="666666"/>
              </a:solidFill>
              <a:latin typeface="Open Sans"/>
            </a:endParaRPr>
          </a:p>
          <a:p>
            <a:pPr marL="285750" indent="-285750" algn="just">
              <a:buFont typeface="Arial" panose="020B0604020202020204" pitchFamily="34" charset="0"/>
              <a:buChar char="•"/>
            </a:pPr>
            <a:r>
              <a:rPr lang="es-ES" dirty="0" smtClean="0">
                <a:solidFill>
                  <a:srgbClr val="666666"/>
                </a:solidFill>
                <a:latin typeface="Open Sans"/>
              </a:rPr>
              <a:t>En </a:t>
            </a:r>
            <a:r>
              <a:rPr lang="es-ES" dirty="0">
                <a:solidFill>
                  <a:srgbClr val="666666"/>
                </a:solidFill>
                <a:latin typeface="Open Sans"/>
              </a:rPr>
              <a:t>este tipo de aprendizaje se busca obtener información clave o importante sin la conocer previamente la referencia de las variables de salida, explorando la estructura de los datos que no están etiquetados</a:t>
            </a:r>
            <a:endParaRPr lang="en-US" dirty="0"/>
          </a:p>
        </p:txBody>
      </p:sp>
      <p:pic>
        <p:nvPicPr>
          <p:cNvPr id="10" name="Imagen 9"/>
          <p:cNvPicPr>
            <a:picLocks noChangeAspect="1"/>
          </p:cNvPicPr>
          <p:nvPr/>
        </p:nvPicPr>
        <p:blipFill>
          <a:blip r:embed="rId2"/>
          <a:stretch>
            <a:fillRect/>
          </a:stretch>
        </p:blipFill>
        <p:spPr>
          <a:xfrm>
            <a:off x="6224289" y="71046"/>
            <a:ext cx="5490375" cy="3113187"/>
          </a:xfrm>
          <a:prstGeom prst="rect">
            <a:avLst/>
          </a:prstGeom>
        </p:spPr>
      </p:pic>
      <p:pic>
        <p:nvPicPr>
          <p:cNvPr id="13" name="Imagen 12"/>
          <p:cNvPicPr>
            <a:picLocks noChangeAspect="1"/>
          </p:cNvPicPr>
          <p:nvPr/>
        </p:nvPicPr>
        <p:blipFill>
          <a:blip r:embed="rId3"/>
          <a:stretch>
            <a:fillRect/>
          </a:stretch>
        </p:blipFill>
        <p:spPr>
          <a:xfrm>
            <a:off x="269523" y="257136"/>
            <a:ext cx="5490375" cy="2741009"/>
          </a:xfrm>
          <a:prstGeom prst="rect">
            <a:avLst/>
          </a:prstGeom>
        </p:spPr>
      </p:pic>
    </p:spTree>
    <p:extLst>
      <p:ext uri="{BB962C8B-B14F-4D97-AF65-F5344CB8AC3E}">
        <p14:creationId xmlns:p14="http://schemas.microsoft.com/office/powerpoint/2010/main" val="94740168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a16="http://schemas.microsoft.com/office/drawing/2014/main" id="{486A04CD-2A41-4DDA-92F0-C9F5DF16BA8A}"/>
              </a:ext>
            </a:extLst>
          </p:cNvPr>
          <p:cNvSpPr>
            <a:spLocks noGrp="1"/>
          </p:cNvSpPr>
          <p:nvPr>
            <p:ph type="sldNum" sz="quarter" idx="12"/>
          </p:nvPr>
        </p:nvSpPr>
        <p:spPr/>
        <p:txBody>
          <a:bodyPr/>
          <a:lstStyle/>
          <a:p>
            <a:fld id="{7F69A413-E501-443A-8AEB-75E16CE63E79}" type="slidenum">
              <a:rPr lang="es-CO" smtClean="0"/>
              <a:t>43</a:t>
            </a:fld>
            <a:endParaRPr lang="es-CO" dirty="0"/>
          </a:p>
        </p:txBody>
      </p:sp>
      <p:sp>
        <p:nvSpPr>
          <p:cNvPr id="14" name="Rectángulo 13"/>
          <p:cNvSpPr/>
          <p:nvPr/>
        </p:nvSpPr>
        <p:spPr>
          <a:xfrm>
            <a:off x="378542" y="1667022"/>
            <a:ext cx="5717458" cy="2308324"/>
          </a:xfrm>
          <a:prstGeom prst="rect">
            <a:avLst/>
          </a:prstGeom>
        </p:spPr>
        <p:txBody>
          <a:bodyPr wrap="square">
            <a:spAutoFit/>
          </a:bodyPr>
          <a:lstStyle/>
          <a:p>
            <a:pPr algn="ctr"/>
            <a:r>
              <a:rPr lang="es-ES" b="1" dirty="0" smtClean="0">
                <a:solidFill>
                  <a:srgbClr val="666666"/>
                </a:solidFill>
                <a:latin typeface="Open Sans"/>
              </a:rPr>
              <a:t>APRENDIZAJE POR REFUERZO</a:t>
            </a:r>
          </a:p>
          <a:p>
            <a:pPr marL="285750" indent="-285750" algn="just">
              <a:buFont typeface="Arial" panose="020B0604020202020204" pitchFamily="34" charset="0"/>
              <a:buChar char="•"/>
            </a:pPr>
            <a:r>
              <a:rPr lang="es-ES" dirty="0" smtClean="0">
                <a:solidFill>
                  <a:srgbClr val="666666"/>
                </a:solidFill>
                <a:latin typeface="Open Sans"/>
              </a:rPr>
              <a:t>Tiene </a:t>
            </a:r>
            <a:r>
              <a:rPr lang="es-ES" dirty="0">
                <a:solidFill>
                  <a:srgbClr val="666666"/>
                </a:solidFill>
                <a:latin typeface="Open Sans"/>
              </a:rPr>
              <a:t>como finalidad construir modelos que aumenten el rendimiento tomando como base el resultado o la recompensa que se genera por cada interacción realizada. </a:t>
            </a:r>
            <a:endParaRPr lang="es-ES" dirty="0" smtClean="0">
              <a:solidFill>
                <a:srgbClr val="666666"/>
              </a:solidFill>
              <a:latin typeface="Open Sans"/>
            </a:endParaRPr>
          </a:p>
          <a:p>
            <a:pPr marL="285750" indent="-285750" algn="just">
              <a:buFont typeface="Arial" panose="020B0604020202020204" pitchFamily="34" charset="0"/>
              <a:buChar char="•"/>
            </a:pPr>
            <a:r>
              <a:rPr lang="es-ES" dirty="0" smtClean="0">
                <a:solidFill>
                  <a:srgbClr val="666666"/>
                </a:solidFill>
                <a:latin typeface="Open Sans"/>
              </a:rPr>
              <a:t>Esta </a:t>
            </a:r>
            <a:r>
              <a:rPr lang="es-ES" dirty="0">
                <a:solidFill>
                  <a:srgbClr val="666666"/>
                </a:solidFill>
                <a:latin typeface="Open Sans"/>
              </a:rPr>
              <a:t>recompensa es el producto de una acción correcta o conjunto de datos devueltos que entran en una medida especifica</a:t>
            </a:r>
            <a:endParaRPr lang="en-US" dirty="0"/>
          </a:p>
        </p:txBody>
      </p:sp>
      <p:pic>
        <p:nvPicPr>
          <p:cNvPr id="15" name="Imagen 14"/>
          <p:cNvPicPr>
            <a:picLocks noChangeAspect="1"/>
          </p:cNvPicPr>
          <p:nvPr/>
        </p:nvPicPr>
        <p:blipFill>
          <a:blip r:embed="rId2"/>
          <a:stretch>
            <a:fillRect/>
          </a:stretch>
        </p:blipFill>
        <p:spPr>
          <a:xfrm>
            <a:off x="6395884" y="1063821"/>
            <a:ext cx="5105400" cy="3514725"/>
          </a:xfrm>
          <a:prstGeom prst="rect">
            <a:avLst/>
          </a:prstGeom>
        </p:spPr>
      </p:pic>
    </p:spTree>
    <p:extLst>
      <p:ext uri="{BB962C8B-B14F-4D97-AF65-F5344CB8AC3E}">
        <p14:creationId xmlns:p14="http://schemas.microsoft.com/office/powerpoint/2010/main" val="171817720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a16="http://schemas.microsoft.com/office/drawing/2014/main" id="{486A04CD-2A41-4DDA-92F0-C9F5DF16BA8A}"/>
              </a:ext>
            </a:extLst>
          </p:cNvPr>
          <p:cNvSpPr>
            <a:spLocks noGrp="1"/>
          </p:cNvSpPr>
          <p:nvPr>
            <p:ph type="sldNum" sz="quarter" idx="12"/>
          </p:nvPr>
        </p:nvSpPr>
        <p:spPr/>
        <p:txBody>
          <a:bodyPr/>
          <a:lstStyle/>
          <a:p>
            <a:fld id="{7F69A413-E501-443A-8AEB-75E16CE63E79}" type="slidenum">
              <a:rPr lang="es-CO" smtClean="0"/>
              <a:t>44</a:t>
            </a:fld>
            <a:endParaRPr lang="es-CO" dirty="0"/>
          </a:p>
        </p:txBody>
      </p:sp>
      <p:pic>
        <p:nvPicPr>
          <p:cNvPr id="4" name="Imagen 3"/>
          <p:cNvPicPr>
            <a:picLocks noChangeAspect="1"/>
          </p:cNvPicPr>
          <p:nvPr/>
        </p:nvPicPr>
        <p:blipFill>
          <a:blip r:embed="rId2"/>
          <a:stretch>
            <a:fillRect/>
          </a:stretch>
        </p:blipFill>
        <p:spPr>
          <a:xfrm>
            <a:off x="1722191" y="520334"/>
            <a:ext cx="8178267" cy="4785426"/>
          </a:xfrm>
          <a:prstGeom prst="rect">
            <a:avLst/>
          </a:prstGeom>
        </p:spPr>
      </p:pic>
      <p:sp>
        <p:nvSpPr>
          <p:cNvPr id="6" name="Rectángulo 5"/>
          <p:cNvSpPr/>
          <p:nvPr/>
        </p:nvSpPr>
        <p:spPr>
          <a:xfrm>
            <a:off x="6075631" y="520334"/>
            <a:ext cx="3691397" cy="634180"/>
          </a:xfrm>
          <a:prstGeom prst="rect">
            <a:avLst/>
          </a:prstGeom>
          <a:solidFill>
            <a:srgbClr val="FFCC00"/>
          </a:solidFill>
          <a:ln>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dirty="0" smtClean="0">
                <a:solidFill>
                  <a:schemeClr val="tx1"/>
                </a:solidFill>
              </a:rPr>
              <a:t>Donde se predice un valor real  basado en entradas pasadas</a:t>
            </a:r>
            <a:endParaRPr lang="en-US" sz="1600" dirty="0">
              <a:solidFill>
                <a:schemeClr val="tx1"/>
              </a:solidFill>
            </a:endParaRPr>
          </a:p>
        </p:txBody>
      </p:sp>
      <p:sp>
        <p:nvSpPr>
          <p:cNvPr id="13" name="Rectángulo 12"/>
          <p:cNvSpPr/>
          <p:nvPr/>
        </p:nvSpPr>
        <p:spPr>
          <a:xfrm>
            <a:off x="6075632" y="1259249"/>
            <a:ext cx="3691396" cy="966113"/>
          </a:xfrm>
          <a:prstGeom prst="rect">
            <a:avLst/>
          </a:prstGeom>
          <a:solidFill>
            <a:srgbClr val="FFCC00"/>
          </a:solidFill>
          <a:ln>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dirty="0" smtClean="0">
                <a:solidFill>
                  <a:schemeClr val="tx1"/>
                </a:solidFill>
              </a:rPr>
              <a:t>Estos algoritmos se usan para predecir valores de salida basados en algunas características de entrada obtenidas de los datos</a:t>
            </a:r>
            <a:endParaRPr lang="en-US" sz="1600" dirty="0">
              <a:solidFill>
                <a:schemeClr val="tx1"/>
              </a:solidFill>
            </a:endParaRPr>
          </a:p>
        </p:txBody>
      </p:sp>
      <p:sp>
        <p:nvSpPr>
          <p:cNvPr id="16" name="Rectángulo 15"/>
          <p:cNvSpPr/>
          <p:nvPr/>
        </p:nvSpPr>
        <p:spPr>
          <a:xfrm>
            <a:off x="6075631" y="2373090"/>
            <a:ext cx="3691396" cy="580982"/>
          </a:xfrm>
          <a:prstGeom prst="rect">
            <a:avLst/>
          </a:prstGeom>
          <a:solidFill>
            <a:srgbClr val="FFCC00"/>
          </a:solidFill>
          <a:ln>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dirty="0" smtClean="0">
                <a:solidFill>
                  <a:schemeClr val="tx1"/>
                </a:solidFill>
              </a:rPr>
              <a:t>Los valores de salida en este caso son continuos</a:t>
            </a:r>
            <a:endParaRPr lang="en-US" sz="1600" dirty="0">
              <a:solidFill>
                <a:schemeClr val="tx1"/>
              </a:solidFill>
            </a:endParaRPr>
          </a:p>
        </p:txBody>
      </p:sp>
      <p:sp>
        <p:nvSpPr>
          <p:cNvPr id="17" name="Rectángulo 16"/>
          <p:cNvSpPr/>
          <p:nvPr/>
        </p:nvSpPr>
        <p:spPr>
          <a:xfrm>
            <a:off x="6075631" y="3073260"/>
            <a:ext cx="3691395" cy="1222661"/>
          </a:xfrm>
          <a:prstGeom prst="rect">
            <a:avLst/>
          </a:prstGeom>
          <a:solidFill>
            <a:srgbClr val="FFCC00"/>
          </a:solidFill>
          <a:ln>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dirty="0" smtClean="0">
                <a:solidFill>
                  <a:schemeClr val="tx1"/>
                </a:solidFill>
              </a:rPr>
              <a:t>Algunos ejemplos son: predecir precios de vivienda, predecir cantidades de compra, predecir la cantidad de ingresos que se genera  partir de una nueva campaña de marketing</a:t>
            </a:r>
            <a:endParaRPr lang="en-US" sz="1600" dirty="0">
              <a:solidFill>
                <a:schemeClr val="tx1"/>
              </a:solidFill>
            </a:endParaRPr>
          </a:p>
        </p:txBody>
      </p:sp>
      <p:sp>
        <p:nvSpPr>
          <p:cNvPr id="18" name="Rectángulo 17"/>
          <p:cNvSpPr/>
          <p:nvPr/>
        </p:nvSpPr>
        <p:spPr>
          <a:xfrm>
            <a:off x="1908058" y="4780562"/>
            <a:ext cx="3810538" cy="498932"/>
          </a:xfrm>
          <a:prstGeom prst="rect">
            <a:avLst/>
          </a:prstGeom>
          <a:solidFill>
            <a:srgbClr val="FFCC00"/>
          </a:solidFill>
          <a:ln>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2400" b="1" dirty="0" smtClean="0">
                <a:solidFill>
                  <a:schemeClr val="tx1"/>
                </a:solidFill>
              </a:rPr>
              <a:t>REGRESIÓN</a:t>
            </a:r>
            <a:endParaRPr lang="en-US" sz="2400" b="1" dirty="0">
              <a:solidFill>
                <a:schemeClr val="tx1"/>
              </a:solidFill>
            </a:endParaRPr>
          </a:p>
        </p:txBody>
      </p:sp>
      <p:sp>
        <p:nvSpPr>
          <p:cNvPr id="19" name="Rectángulo 18"/>
          <p:cNvSpPr/>
          <p:nvPr/>
        </p:nvSpPr>
        <p:spPr>
          <a:xfrm>
            <a:off x="5976693" y="4806828"/>
            <a:ext cx="3609055" cy="498932"/>
          </a:xfrm>
          <a:prstGeom prst="rect">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2400" b="1" dirty="0" smtClean="0">
                <a:solidFill>
                  <a:schemeClr val="bg1"/>
                </a:solidFill>
              </a:rPr>
              <a:t>CLASIFICACIÓN</a:t>
            </a:r>
            <a:endParaRPr lang="en-US" sz="2400" b="1" dirty="0">
              <a:solidFill>
                <a:schemeClr val="bg1"/>
              </a:solidFill>
            </a:endParaRPr>
          </a:p>
        </p:txBody>
      </p:sp>
      <p:sp>
        <p:nvSpPr>
          <p:cNvPr id="7" name="Rectángulo 6"/>
          <p:cNvSpPr/>
          <p:nvPr/>
        </p:nvSpPr>
        <p:spPr>
          <a:xfrm>
            <a:off x="1851445" y="5424948"/>
            <a:ext cx="7734303" cy="516812"/>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2400" b="1" dirty="0" smtClean="0"/>
              <a:t>APRENDIZAJE SUPERVISADO</a:t>
            </a:r>
            <a:endParaRPr lang="en-US" sz="2400" b="1" dirty="0"/>
          </a:p>
        </p:txBody>
      </p:sp>
    </p:spTree>
    <p:extLst>
      <p:ext uri="{BB962C8B-B14F-4D97-AF65-F5344CB8AC3E}">
        <p14:creationId xmlns:p14="http://schemas.microsoft.com/office/powerpoint/2010/main" val="273333279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a16="http://schemas.microsoft.com/office/drawing/2014/main" id="{486A04CD-2A41-4DDA-92F0-C9F5DF16BA8A}"/>
              </a:ext>
            </a:extLst>
          </p:cNvPr>
          <p:cNvSpPr>
            <a:spLocks noGrp="1"/>
          </p:cNvSpPr>
          <p:nvPr>
            <p:ph type="sldNum" sz="quarter" idx="12"/>
          </p:nvPr>
        </p:nvSpPr>
        <p:spPr>
          <a:xfrm>
            <a:off x="8728587" y="5950349"/>
            <a:ext cx="2743200" cy="365125"/>
          </a:xfrm>
        </p:spPr>
        <p:txBody>
          <a:bodyPr/>
          <a:lstStyle/>
          <a:p>
            <a:fld id="{7F69A413-E501-443A-8AEB-75E16CE63E79}" type="slidenum">
              <a:rPr lang="es-CO" smtClean="0"/>
              <a:t>45</a:t>
            </a:fld>
            <a:endParaRPr lang="es-CO" dirty="0"/>
          </a:p>
        </p:txBody>
      </p:sp>
      <p:pic>
        <p:nvPicPr>
          <p:cNvPr id="3" name="Imagen 2"/>
          <p:cNvPicPr>
            <a:picLocks noChangeAspect="1"/>
          </p:cNvPicPr>
          <p:nvPr/>
        </p:nvPicPr>
        <p:blipFill>
          <a:blip r:embed="rId2"/>
          <a:stretch>
            <a:fillRect/>
          </a:stretch>
        </p:blipFill>
        <p:spPr>
          <a:xfrm>
            <a:off x="1947158" y="253050"/>
            <a:ext cx="8629911" cy="5073260"/>
          </a:xfrm>
          <a:prstGeom prst="rect">
            <a:avLst/>
          </a:prstGeom>
        </p:spPr>
      </p:pic>
      <p:sp>
        <p:nvSpPr>
          <p:cNvPr id="9" name="Rectángulo 8"/>
          <p:cNvSpPr/>
          <p:nvPr/>
        </p:nvSpPr>
        <p:spPr>
          <a:xfrm>
            <a:off x="2094642" y="4770316"/>
            <a:ext cx="4000324" cy="451782"/>
          </a:xfrm>
          <a:prstGeom prst="rect">
            <a:avLst/>
          </a:prstGeom>
          <a:solidFill>
            <a:srgbClr val="FFCC00"/>
          </a:solidFill>
          <a:ln>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2400" b="1" dirty="0" smtClean="0">
                <a:solidFill>
                  <a:schemeClr val="tx1"/>
                </a:solidFill>
              </a:rPr>
              <a:t>REGRESIÓN</a:t>
            </a:r>
            <a:endParaRPr lang="en-US" sz="2400" b="1" dirty="0">
              <a:solidFill>
                <a:schemeClr val="tx1"/>
              </a:solidFill>
            </a:endParaRPr>
          </a:p>
        </p:txBody>
      </p:sp>
      <p:sp>
        <p:nvSpPr>
          <p:cNvPr id="10" name="Rectángulo 9"/>
          <p:cNvSpPr/>
          <p:nvPr/>
        </p:nvSpPr>
        <p:spPr>
          <a:xfrm>
            <a:off x="2094642" y="5433537"/>
            <a:ext cx="8306853" cy="516812"/>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2400" b="1" dirty="0" smtClean="0"/>
              <a:t>APRENDIZAJE SUPERVISADO</a:t>
            </a:r>
            <a:endParaRPr lang="en-US" sz="2400" b="1" dirty="0"/>
          </a:p>
        </p:txBody>
      </p:sp>
    </p:spTree>
    <p:extLst>
      <p:ext uri="{BB962C8B-B14F-4D97-AF65-F5344CB8AC3E}">
        <p14:creationId xmlns:p14="http://schemas.microsoft.com/office/powerpoint/2010/main" val="275212602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1 Título">
            <a:extLst>
              <a:ext uri="{FF2B5EF4-FFF2-40B4-BE49-F238E27FC236}">
                <a16:creationId xmlns:a16="http://schemas.microsoft.com/office/drawing/2014/main" id="{C86440B3-58DF-4235-8981-CE33DBAF893C}"/>
              </a:ext>
            </a:extLst>
          </p:cNvPr>
          <p:cNvSpPr txBox="1">
            <a:spLocks/>
          </p:cNvSpPr>
          <p:nvPr/>
        </p:nvSpPr>
        <p:spPr>
          <a:xfrm>
            <a:off x="667470" y="474022"/>
            <a:ext cx="11062867" cy="650922"/>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marL="0" marR="0" lvl="0" indent="0" algn="l" defTabSz="914400" rtl="0" eaLnBrk="1" fontAlgn="auto" latinLnBrk="0" hangingPunct="1">
              <a:lnSpc>
                <a:spcPts val="4000"/>
              </a:lnSpc>
              <a:spcBef>
                <a:spcPct val="0"/>
              </a:spcBef>
              <a:spcAft>
                <a:spcPts val="0"/>
              </a:spcAft>
              <a:buClrTx/>
              <a:buSzTx/>
              <a:buFontTx/>
              <a:buNone/>
              <a:tabLst/>
              <a:defRPr/>
            </a:pPr>
            <a:r>
              <a:rPr kumimoji="0" lang="es-CO" sz="2800" b="1" i="0" u="none" strike="noStrike" kern="1200" cap="none" spc="0" normalizeH="0" baseline="0" noProof="0" dirty="0">
                <a:ln>
                  <a:noFill/>
                </a:ln>
                <a:solidFill>
                  <a:srgbClr val="62AC1E"/>
                </a:solidFill>
                <a:effectLst/>
                <a:uLnTx/>
                <a:uFillTx/>
              </a:rPr>
              <a:t>Regresión</a:t>
            </a:r>
            <a:endParaRPr kumimoji="0" lang="es-ES" sz="2800" b="1" i="0" u="none" strike="noStrike" kern="1200" cap="none" spc="0" normalizeH="0" baseline="0" noProof="0" dirty="0">
              <a:ln>
                <a:noFill/>
              </a:ln>
              <a:solidFill>
                <a:srgbClr val="62AC1E"/>
              </a:solidFill>
              <a:effectLst/>
              <a:uLnTx/>
              <a:uFillTx/>
              <a:latin typeface="+mn-lt"/>
              <a:ea typeface="+mn-ea"/>
              <a:cs typeface="+mn-cs"/>
            </a:endParaRPr>
          </a:p>
        </p:txBody>
      </p:sp>
      <p:sp>
        <p:nvSpPr>
          <p:cNvPr id="20" name="2 Marcador de contenido">
            <a:extLst>
              <a:ext uri="{FF2B5EF4-FFF2-40B4-BE49-F238E27FC236}">
                <a16:creationId xmlns:a16="http://schemas.microsoft.com/office/drawing/2014/main" id="{7950EBA7-1246-42A9-895D-1517FAF36B86}"/>
              </a:ext>
            </a:extLst>
          </p:cNvPr>
          <p:cNvSpPr txBox="1">
            <a:spLocks/>
          </p:cNvSpPr>
          <p:nvPr/>
        </p:nvSpPr>
        <p:spPr>
          <a:xfrm>
            <a:off x="667470" y="1323097"/>
            <a:ext cx="6771294" cy="4331476"/>
          </a:xfrm>
          <a:prstGeom prst="rect">
            <a:avLst/>
          </a:prstGeom>
        </p:spPr>
        <p:txBody>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err="1">
                <a:ln>
                  <a:noFill/>
                </a:ln>
                <a:solidFill>
                  <a:srgbClr val="5F5F5F"/>
                </a:solidFill>
                <a:effectLst/>
                <a:uLnTx/>
                <a:uFillTx/>
              </a:rPr>
              <a:t>Regresión</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puede</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ser</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definida</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como</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una</a:t>
            </a:r>
            <a:r>
              <a:rPr kumimoji="0" lang="en-US" sz="2400" b="0" i="0" u="none" strike="noStrike" kern="0" cap="none" spc="0" normalizeH="0" baseline="0" noProof="0" dirty="0">
                <a:ln>
                  <a:noFill/>
                </a:ln>
                <a:solidFill>
                  <a:srgbClr val="5F5F5F"/>
                </a:solidFill>
                <a:effectLst/>
                <a:uLnTx/>
                <a:uFillTx/>
              </a:rPr>
              <a:t> </a:t>
            </a:r>
            <a:r>
              <a:rPr kumimoji="0" lang="en-GB" sz="2400" b="0" i="0" u="none" strike="noStrike" kern="0" cap="none" spc="0" normalizeH="0" baseline="0" noProof="0" dirty="0" err="1">
                <a:ln>
                  <a:noFill/>
                </a:ln>
                <a:solidFill>
                  <a:srgbClr val="5F5F5F"/>
                </a:solidFill>
                <a:effectLst/>
                <a:uLnTx/>
                <a:uFillTx/>
              </a:rPr>
              <a:t>técnica</a:t>
            </a:r>
            <a:r>
              <a:rPr kumimoji="0" lang="en-GB" sz="2400" b="0" i="0" u="none" strike="noStrike" kern="0" cap="none" spc="0" normalizeH="0" baseline="0" noProof="0" dirty="0">
                <a:ln>
                  <a:noFill/>
                </a:ln>
                <a:solidFill>
                  <a:srgbClr val="5F5F5F"/>
                </a:solidFill>
                <a:effectLst/>
                <a:uLnTx/>
                <a:uFillTx/>
              </a:rPr>
              <a:t> que </a:t>
            </a:r>
            <a:r>
              <a:rPr kumimoji="0" lang="en-GB" sz="2400" b="0" i="0" u="none" strike="noStrike" kern="0" cap="none" spc="0" normalizeH="0" baseline="0" noProof="0" dirty="0" err="1">
                <a:ln>
                  <a:noFill/>
                </a:ln>
                <a:solidFill>
                  <a:srgbClr val="5F5F5F"/>
                </a:solidFill>
                <a:effectLst/>
                <a:uLnTx/>
                <a:uFillTx/>
              </a:rPr>
              <a:t>intenta</a:t>
            </a:r>
            <a:r>
              <a:rPr kumimoji="0" lang="en-GB" sz="2400" b="0" i="0" u="none" strike="noStrike" kern="0" cap="none" spc="0" normalizeH="0" baseline="0" noProof="0" dirty="0">
                <a:ln>
                  <a:noFill/>
                </a:ln>
                <a:solidFill>
                  <a:srgbClr val="5F5F5F"/>
                </a:solidFill>
                <a:effectLst/>
                <a:uLnTx/>
                <a:uFillTx/>
              </a:rPr>
              <a:t> </a:t>
            </a:r>
            <a:r>
              <a:rPr kumimoji="0" lang="en-GB" sz="2400" b="0" i="0" u="none" strike="noStrike" kern="0" cap="none" spc="0" normalizeH="0" baseline="0" noProof="0" dirty="0" err="1">
                <a:ln>
                  <a:noFill/>
                </a:ln>
                <a:solidFill>
                  <a:srgbClr val="5F5F5F"/>
                </a:solidFill>
                <a:effectLst/>
                <a:uLnTx/>
                <a:uFillTx/>
              </a:rPr>
              <a:t>estimar</a:t>
            </a:r>
            <a:r>
              <a:rPr kumimoji="0" lang="en-GB" sz="2400" b="0" i="0" u="none" strike="noStrike" kern="0" cap="none" spc="0" normalizeH="0" baseline="0" noProof="0" dirty="0">
                <a:ln>
                  <a:noFill/>
                </a:ln>
                <a:solidFill>
                  <a:srgbClr val="5F5F5F"/>
                </a:solidFill>
                <a:effectLst/>
                <a:uLnTx/>
                <a:uFillTx/>
              </a:rPr>
              <a:t> o </a:t>
            </a:r>
            <a:r>
              <a:rPr kumimoji="0" lang="en-GB" sz="2400" b="0" i="0" u="none" strike="noStrike" kern="0" cap="none" spc="0" normalizeH="0" baseline="0" noProof="0" dirty="0" err="1">
                <a:ln>
                  <a:noFill/>
                </a:ln>
                <a:solidFill>
                  <a:srgbClr val="5F5F5F"/>
                </a:solidFill>
                <a:effectLst/>
                <a:uLnTx/>
                <a:uFillTx/>
              </a:rPr>
              <a:t>predecir</a:t>
            </a:r>
            <a:r>
              <a:rPr kumimoji="0" lang="en-GB" sz="2400" b="0" i="0" u="none" strike="noStrike" kern="0" cap="none" spc="0" normalizeH="0" baseline="0" noProof="0" dirty="0">
                <a:ln>
                  <a:noFill/>
                </a:ln>
                <a:solidFill>
                  <a:srgbClr val="5F5F5F"/>
                </a:solidFill>
                <a:effectLst/>
                <a:uLnTx/>
                <a:uFillTx/>
              </a:rPr>
              <a:t> para </a:t>
            </a:r>
            <a:r>
              <a:rPr kumimoji="0" lang="en-GB" sz="2400" b="0" i="0" u="none" strike="noStrike" kern="0" cap="none" spc="0" normalizeH="0" baseline="0" noProof="0" dirty="0" err="1">
                <a:ln>
                  <a:noFill/>
                </a:ln>
                <a:solidFill>
                  <a:srgbClr val="5F5F5F"/>
                </a:solidFill>
                <a:effectLst/>
                <a:uLnTx/>
                <a:uFillTx/>
              </a:rPr>
              <a:t>cada</a:t>
            </a:r>
            <a:r>
              <a:rPr kumimoji="0" lang="en-GB" sz="2400" b="0" i="0" u="none" strike="noStrike" kern="0" cap="none" spc="0" normalizeH="0" baseline="0" noProof="0" dirty="0">
                <a:ln>
                  <a:noFill/>
                </a:ln>
                <a:solidFill>
                  <a:srgbClr val="5F5F5F"/>
                </a:solidFill>
                <a:effectLst/>
                <a:uLnTx/>
                <a:uFillTx/>
              </a:rPr>
              <a:t> </a:t>
            </a:r>
            <a:r>
              <a:rPr kumimoji="0" lang="en-GB" sz="2400" b="0" i="0" u="none" strike="noStrike" kern="0" cap="none" spc="0" normalizeH="0" baseline="0" noProof="0" dirty="0" err="1">
                <a:ln>
                  <a:noFill/>
                </a:ln>
                <a:solidFill>
                  <a:srgbClr val="5F5F5F"/>
                </a:solidFill>
                <a:effectLst/>
                <a:uLnTx/>
                <a:uFillTx/>
              </a:rPr>
              <a:t>registro</a:t>
            </a:r>
            <a:r>
              <a:rPr kumimoji="0" lang="en-GB" sz="2400" b="0" i="0" u="none" strike="noStrike" kern="0" cap="none" spc="0" normalizeH="0" baseline="0" noProof="0" dirty="0">
                <a:ln>
                  <a:noFill/>
                </a:ln>
                <a:solidFill>
                  <a:srgbClr val="5F5F5F"/>
                </a:solidFill>
                <a:effectLst/>
                <a:uLnTx/>
                <a:uFillTx/>
              </a:rPr>
              <a:t> </a:t>
            </a:r>
            <a:r>
              <a:rPr kumimoji="0" lang="en-GB" sz="2400" b="1" i="0" u="none" strike="noStrike" kern="0" cap="none" spc="0" normalizeH="0" baseline="0" noProof="0" dirty="0">
                <a:ln>
                  <a:noFill/>
                </a:ln>
                <a:solidFill>
                  <a:srgbClr val="5F5F5F"/>
                </a:solidFill>
                <a:effectLst/>
                <a:uLnTx/>
                <a:uFillTx/>
              </a:rPr>
              <a:t>el </a:t>
            </a:r>
            <a:r>
              <a:rPr kumimoji="0" lang="en-GB" sz="2400" b="1" i="0" u="none" strike="noStrike" kern="0" cap="none" spc="0" normalizeH="0" baseline="0" noProof="0" dirty="0" err="1">
                <a:ln>
                  <a:noFill/>
                </a:ln>
                <a:solidFill>
                  <a:srgbClr val="5F5F5F"/>
                </a:solidFill>
                <a:effectLst/>
                <a:uLnTx/>
                <a:uFillTx/>
              </a:rPr>
              <a:t>valor</a:t>
            </a:r>
            <a:r>
              <a:rPr kumimoji="0" lang="en-GB" sz="2400" b="1" i="0" u="none" strike="noStrike" kern="0" cap="none" spc="0" normalizeH="0" baseline="0" noProof="0" dirty="0">
                <a:ln>
                  <a:noFill/>
                </a:ln>
                <a:solidFill>
                  <a:srgbClr val="5F5F5F"/>
                </a:solidFill>
                <a:effectLst/>
                <a:uLnTx/>
                <a:uFillTx/>
              </a:rPr>
              <a:t> </a:t>
            </a:r>
            <a:r>
              <a:rPr kumimoji="0" lang="en-GB" sz="2400" b="1" i="0" u="none" strike="noStrike" kern="0" cap="none" spc="0" normalizeH="0" baseline="0" noProof="0" dirty="0" err="1">
                <a:ln>
                  <a:noFill/>
                </a:ln>
                <a:solidFill>
                  <a:srgbClr val="5F5F5F"/>
                </a:solidFill>
                <a:effectLst/>
                <a:uLnTx/>
                <a:uFillTx/>
              </a:rPr>
              <a:t>numérico</a:t>
            </a:r>
            <a:r>
              <a:rPr kumimoji="0" lang="en-GB" sz="2400" b="0" i="0" u="none" strike="noStrike" kern="0" cap="none" spc="0" normalizeH="0" baseline="0" noProof="0" dirty="0">
                <a:ln>
                  <a:noFill/>
                </a:ln>
                <a:solidFill>
                  <a:srgbClr val="5F5F5F"/>
                </a:solidFill>
                <a:effectLst/>
                <a:uLnTx/>
                <a:uFillTx/>
              </a:rPr>
              <a:t> de </a:t>
            </a:r>
            <a:r>
              <a:rPr kumimoji="0" lang="en-GB" sz="2400" b="0" i="0" u="none" strike="noStrike" kern="0" cap="none" spc="0" normalizeH="0" baseline="0" noProof="0" dirty="0" err="1">
                <a:ln>
                  <a:noFill/>
                </a:ln>
                <a:solidFill>
                  <a:srgbClr val="5F5F5F"/>
                </a:solidFill>
                <a:effectLst/>
                <a:uLnTx/>
                <a:uFillTx/>
              </a:rPr>
              <a:t>alguna</a:t>
            </a:r>
            <a:r>
              <a:rPr kumimoji="0" lang="en-GB" sz="2400" b="0" i="0" u="none" strike="noStrike" kern="0" cap="none" spc="0" normalizeH="0" baseline="0" noProof="0" dirty="0">
                <a:ln>
                  <a:noFill/>
                </a:ln>
                <a:solidFill>
                  <a:srgbClr val="5F5F5F"/>
                </a:solidFill>
                <a:effectLst/>
                <a:uLnTx/>
                <a:uFillTx/>
              </a:rPr>
              <a:t> variable para ese </a:t>
            </a:r>
            <a:r>
              <a:rPr kumimoji="0" lang="en-GB" sz="2400" b="0" i="0" u="none" strike="noStrike" kern="0" cap="none" spc="0" normalizeH="0" baseline="0" noProof="0" dirty="0" err="1">
                <a:ln>
                  <a:noFill/>
                </a:ln>
                <a:solidFill>
                  <a:srgbClr val="5F5F5F"/>
                </a:solidFill>
                <a:effectLst/>
                <a:uLnTx/>
                <a:uFillTx/>
              </a:rPr>
              <a:t>registro</a:t>
            </a:r>
            <a:r>
              <a:rPr kumimoji="0" lang="en-GB" sz="2400" b="0" i="0" u="none" strike="noStrike" kern="0" cap="none" spc="0" normalizeH="0" baseline="0" noProof="0" dirty="0">
                <a:ln>
                  <a:noFill/>
                </a:ln>
                <a:solidFill>
                  <a:srgbClr val="5F5F5F"/>
                </a:solidFill>
                <a:effectLst/>
                <a:uLnTx/>
                <a:uFillTx/>
              </a:rPr>
              <a:t>.</a:t>
            </a:r>
            <a:endParaRPr kumimoji="0" lang="en-US" sz="2400" b="0" i="0" u="none" strike="noStrike" kern="0" cap="none" spc="0" normalizeH="0" baseline="0" noProof="0" dirty="0">
              <a:ln>
                <a:noFill/>
              </a:ln>
              <a:solidFill>
                <a:srgbClr val="FF0000"/>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0000"/>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err="1">
                <a:ln>
                  <a:noFill/>
                </a:ln>
                <a:solidFill>
                  <a:srgbClr val="5F5F5F"/>
                </a:solidFill>
                <a:effectLst/>
                <a:uLnTx/>
                <a:uFillTx/>
              </a:rPr>
              <a:t>Algunos</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algoritmos</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frecuentemente</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utilizados</a:t>
            </a:r>
            <a:r>
              <a:rPr kumimoji="0" lang="en-US" sz="2400" b="0" i="0" u="none" strike="noStrike" kern="0" cap="none" spc="0" normalizeH="0" baseline="0" noProof="0" dirty="0">
                <a:ln>
                  <a:noFill/>
                </a:ln>
                <a:solidFill>
                  <a:srgbClr val="5F5F5F"/>
                </a:solidFill>
                <a:effectLst/>
                <a:uLnTx/>
                <a:uFillTx/>
              </a:rPr>
              <a:t> son:</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F5F5F"/>
              </a:solidFill>
              <a:effectLst/>
              <a:uLnTx/>
              <a:uFillTx/>
            </a:endParaRPr>
          </a:p>
          <a:p>
            <a:pPr marL="342900" marR="0" lvl="0" indent="-342900" algn="just" defTabSz="914400" eaLnBrk="1" fontAlgn="auto" latinLnBrk="0" hangingPunct="1">
              <a:lnSpc>
                <a:spcPct val="100000"/>
              </a:lnSpc>
              <a:spcBef>
                <a:spcPts val="0"/>
              </a:spcBef>
              <a:spcAft>
                <a:spcPts val="0"/>
              </a:spcAft>
              <a:buClrTx/>
              <a:buSzTx/>
              <a:buFontTx/>
              <a:buBlip>
                <a:blip r:embed="rId3"/>
              </a:buBlip>
              <a:tabLst/>
              <a:defRPr/>
            </a:pPr>
            <a:r>
              <a:rPr kumimoji="0" lang="es-CO" sz="2400" b="0" i="0" u="none" strike="noStrike" kern="0" cap="none" spc="0" normalizeH="0" baseline="0" noProof="0" dirty="0">
                <a:ln>
                  <a:noFill/>
                </a:ln>
                <a:solidFill>
                  <a:srgbClr val="5F5F5F"/>
                </a:solidFill>
                <a:effectLst/>
                <a:uLnTx/>
                <a:uFillTx/>
              </a:rPr>
              <a:t>Regresión lineal</a:t>
            </a:r>
          </a:p>
          <a:p>
            <a:pPr marL="342900" marR="0" lvl="0" indent="-342900" algn="just" defTabSz="914400" eaLnBrk="1" fontAlgn="auto" latinLnBrk="0" hangingPunct="1">
              <a:lnSpc>
                <a:spcPct val="100000"/>
              </a:lnSpc>
              <a:spcBef>
                <a:spcPts val="0"/>
              </a:spcBef>
              <a:spcAft>
                <a:spcPts val="0"/>
              </a:spcAft>
              <a:buClrTx/>
              <a:buSzTx/>
              <a:buFontTx/>
              <a:buBlip>
                <a:blip r:embed="rId3"/>
              </a:buBlip>
              <a:tabLst/>
              <a:defRPr/>
            </a:pPr>
            <a:r>
              <a:rPr kumimoji="0" lang="es-CO" sz="2400" b="0" i="0" u="none" strike="noStrike" kern="0" cap="none" spc="0" normalizeH="0" baseline="0" noProof="0" dirty="0">
                <a:ln>
                  <a:noFill/>
                </a:ln>
                <a:solidFill>
                  <a:srgbClr val="5F5F5F"/>
                </a:solidFill>
                <a:effectLst/>
                <a:uLnTx/>
                <a:uFillTx/>
              </a:rPr>
              <a:t>Regresión polinómica</a:t>
            </a:r>
          </a:p>
          <a:p>
            <a:pPr marL="342900" marR="0" lvl="0" indent="-342900" algn="just" defTabSz="914400" eaLnBrk="1" fontAlgn="auto" latinLnBrk="0" hangingPunct="1">
              <a:lnSpc>
                <a:spcPct val="100000"/>
              </a:lnSpc>
              <a:spcBef>
                <a:spcPts val="0"/>
              </a:spcBef>
              <a:spcAft>
                <a:spcPts val="0"/>
              </a:spcAft>
              <a:buClrTx/>
              <a:buSzTx/>
              <a:buFontTx/>
              <a:buBlip>
                <a:blip r:embed="rId3"/>
              </a:buBlip>
              <a:tabLst/>
              <a:defRPr/>
            </a:pPr>
            <a:r>
              <a:rPr kumimoji="0" lang="es-CO" sz="2400" b="0" i="0" u="none" strike="noStrike" kern="0" cap="none" spc="0" normalizeH="0" baseline="0" noProof="0" dirty="0">
                <a:ln>
                  <a:noFill/>
                </a:ln>
                <a:solidFill>
                  <a:srgbClr val="5F5F5F"/>
                </a:solidFill>
                <a:effectLst/>
                <a:uLnTx/>
                <a:uFillTx/>
              </a:rPr>
              <a:t>Árboles de regresión</a:t>
            </a:r>
          </a:p>
          <a:p>
            <a:pPr marL="342900" marR="0" lvl="0" indent="-342900" algn="just" defTabSz="914400" eaLnBrk="1" fontAlgn="auto" latinLnBrk="0" hangingPunct="1">
              <a:lnSpc>
                <a:spcPct val="100000"/>
              </a:lnSpc>
              <a:spcBef>
                <a:spcPts val="0"/>
              </a:spcBef>
              <a:spcAft>
                <a:spcPts val="0"/>
              </a:spcAft>
              <a:buClrTx/>
              <a:buSzTx/>
              <a:buFontTx/>
              <a:buBlip>
                <a:blip r:embed="rId3"/>
              </a:buBlip>
              <a:tabLst/>
              <a:defRPr/>
            </a:pPr>
            <a:r>
              <a:rPr kumimoji="0" lang="es-CO" sz="2400" b="0" i="0" u="none" strike="noStrike" kern="0" cap="none" spc="0" normalizeH="0" baseline="0" noProof="0" dirty="0">
                <a:ln>
                  <a:noFill/>
                </a:ln>
                <a:solidFill>
                  <a:srgbClr val="5F5F5F"/>
                </a:solidFill>
                <a:effectLst/>
                <a:uLnTx/>
                <a:uFillTx/>
              </a:rPr>
              <a:t>Máquinas de Vectores Soporte</a:t>
            </a:r>
            <a:endParaRPr kumimoji="0" lang="en-US" sz="2400" b="0" i="0" u="none" strike="noStrike" kern="0" cap="none" spc="0" normalizeH="0" baseline="0" noProof="0" dirty="0">
              <a:ln>
                <a:noFill/>
              </a:ln>
              <a:solidFill>
                <a:srgbClr val="5F5F5F"/>
              </a:solidFill>
              <a:effectLst/>
              <a:uLnTx/>
              <a:uFillTx/>
            </a:endParaRPr>
          </a:p>
        </p:txBody>
      </p:sp>
      <p:pic>
        <p:nvPicPr>
          <p:cNvPr id="24" name="Picture 8">
            <a:extLst>
              <a:ext uri="{FF2B5EF4-FFF2-40B4-BE49-F238E27FC236}">
                <a16:creationId xmlns:a16="http://schemas.microsoft.com/office/drawing/2014/main" id="{F32CBA66-3DE7-4550-AAF2-51F05992EBE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a:off x="5578558" y="3709210"/>
            <a:ext cx="4182404" cy="312275"/>
          </a:xfrm>
          <a:prstGeom prst="rect">
            <a:avLst/>
          </a:prstGeom>
        </p:spPr>
      </p:pic>
      <p:pic>
        <p:nvPicPr>
          <p:cNvPr id="25" name="Imagen 24">
            <a:extLst>
              <a:ext uri="{FF2B5EF4-FFF2-40B4-BE49-F238E27FC236}">
                <a16:creationId xmlns:a16="http://schemas.microsoft.com/office/drawing/2014/main" id="{746E6210-AB28-4B59-B93F-41F5F645C94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63339" y="1963711"/>
            <a:ext cx="4066998" cy="3050249"/>
          </a:xfrm>
          <a:prstGeom prst="rect">
            <a:avLst/>
          </a:prstGeom>
        </p:spPr>
      </p:pic>
    </p:spTree>
    <p:extLst>
      <p:ext uri="{BB962C8B-B14F-4D97-AF65-F5344CB8AC3E}">
        <p14:creationId xmlns:p14="http://schemas.microsoft.com/office/powerpoint/2010/main" val="3284526122"/>
      </p:ext>
    </p:extLst>
  </p:cSld>
  <p:clrMapOvr>
    <a:masterClrMapping/>
  </p:clrMapOvr>
  <p:transition spd="slow"/>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1 Título">
            <a:extLst>
              <a:ext uri="{FF2B5EF4-FFF2-40B4-BE49-F238E27FC236}">
                <a16:creationId xmlns:a16="http://schemas.microsoft.com/office/drawing/2014/main" id="{C86440B3-58DF-4235-8981-CE33DBAF893C}"/>
              </a:ext>
            </a:extLst>
          </p:cNvPr>
          <p:cNvSpPr txBox="1">
            <a:spLocks/>
          </p:cNvSpPr>
          <p:nvPr/>
        </p:nvSpPr>
        <p:spPr>
          <a:xfrm>
            <a:off x="556800" y="474022"/>
            <a:ext cx="11173537" cy="650922"/>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marL="0" marR="0" lvl="0" indent="0" algn="l" defTabSz="914400" rtl="0" eaLnBrk="1" fontAlgn="auto" latinLnBrk="0" hangingPunct="1">
              <a:lnSpc>
                <a:spcPts val="4000"/>
              </a:lnSpc>
              <a:spcBef>
                <a:spcPct val="0"/>
              </a:spcBef>
              <a:spcAft>
                <a:spcPts val="0"/>
              </a:spcAft>
              <a:buClrTx/>
              <a:buSzTx/>
              <a:buFontTx/>
              <a:buNone/>
              <a:tabLst/>
              <a:defRPr/>
            </a:pPr>
            <a:r>
              <a:rPr kumimoji="0" lang="es-CO" sz="2800" b="1" i="0" u="none" strike="noStrike" kern="1200" cap="none" spc="0" normalizeH="0" baseline="0" noProof="0" dirty="0">
                <a:ln>
                  <a:noFill/>
                </a:ln>
                <a:solidFill>
                  <a:srgbClr val="62AC1E"/>
                </a:solidFill>
                <a:effectLst/>
                <a:uLnTx/>
                <a:uFillTx/>
                <a:latin typeface="Trebuchet MS" pitchFamily="34" charset="0"/>
                <a:ea typeface="+mj-ea"/>
                <a:cs typeface="+mj-cs"/>
              </a:rPr>
              <a:t>Clasificación</a:t>
            </a:r>
            <a:endParaRPr kumimoji="0" lang="es-ES" sz="3100" b="1" i="0" u="none" strike="noStrike" kern="1200" cap="none" spc="0" normalizeH="0" baseline="0" noProof="0" dirty="0">
              <a:ln>
                <a:noFill/>
              </a:ln>
              <a:solidFill>
                <a:srgbClr val="62AC1E"/>
              </a:solidFill>
              <a:effectLst/>
              <a:uLnTx/>
              <a:uFillTx/>
              <a:latin typeface="+mn-lt"/>
              <a:ea typeface="+mn-ea"/>
              <a:cs typeface="+mn-cs"/>
            </a:endParaRPr>
          </a:p>
        </p:txBody>
      </p:sp>
      <p:sp>
        <p:nvSpPr>
          <p:cNvPr id="6" name="2 Marcador de contenido">
            <a:extLst>
              <a:ext uri="{FF2B5EF4-FFF2-40B4-BE49-F238E27FC236}">
                <a16:creationId xmlns:a16="http://schemas.microsoft.com/office/drawing/2014/main" id="{7950EBA7-1246-42A9-895D-1517FAF36B86}"/>
              </a:ext>
            </a:extLst>
          </p:cNvPr>
          <p:cNvSpPr txBox="1">
            <a:spLocks/>
          </p:cNvSpPr>
          <p:nvPr/>
        </p:nvSpPr>
        <p:spPr>
          <a:xfrm>
            <a:off x="556800" y="1084306"/>
            <a:ext cx="7576582" cy="5397773"/>
          </a:xfrm>
          <a:prstGeom prst="rect">
            <a:avLst/>
          </a:prstGeom>
        </p:spPr>
        <p:txBody>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err="1">
                <a:ln>
                  <a:noFill/>
                </a:ln>
                <a:solidFill>
                  <a:srgbClr val="5F5F5F"/>
                </a:solidFill>
                <a:effectLst/>
                <a:uLnTx/>
                <a:uFillTx/>
              </a:rPr>
              <a:t>Clasificación</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puede</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ser</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definida</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como</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una</a:t>
            </a:r>
            <a:r>
              <a:rPr kumimoji="0" lang="en-US" sz="2400" b="0" i="0" u="none" strike="noStrike" kern="0" cap="none" spc="0" normalizeH="0" baseline="0" noProof="0" dirty="0">
                <a:ln>
                  <a:noFill/>
                </a:ln>
                <a:solidFill>
                  <a:srgbClr val="5F5F5F"/>
                </a:solidFill>
                <a:effectLst/>
                <a:uLnTx/>
                <a:uFillTx/>
              </a:rPr>
              <a:t> </a:t>
            </a:r>
            <a:r>
              <a:rPr kumimoji="0" lang="en-US" sz="2400" b="1" i="0" u="none" strike="noStrike" kern="0" cap="none" spc="0" normalizeH="0" baseline="0" noProof="0" dirty="0" err="1">
                <a:ln>
                  <a:noFill/>
                </a:ln>
                <a:solidFill>
                  <a:srgbClr val="5F5F5F"/>
                </a:solidFill>
                <a:effectLst/>
                <a:uLnTx/>
                <a:uFillTx/>
              </a:rPr>
              <a:t>técnica</a:t>
            </a:r>
            <a:r>
              <a:rPr kumimoji="0" lang="en-US" sz="2400" b="1" i="0" u="none" strike="noStrike" kern="0" cap="none" spc="0" normalizeH="0" baseline="0" noProof="0" dirty="0">
                <a:ln>
                  <a:noFill/>
                </a:ln>
                <a:solidFill>
                  <a:srgbClr val="5F5F5F"/>
                </a:solidFill>
                <a:effectLst/>
                <a:uLnTx/>
                <a:uFillTx/>
              </a:rPr>
              <a:t> que produce un </a:t>
            </a:r>
            <a:r>
              <a:rPr kumimoji="0" lang="en-US" sz="2400" b="1" i="0" u="none" strike="noStrike" kern="0" cap="none" spc="0" normalizeH="0" baseline="0" noProof="0" dirty="0" err="1">
                <a:ln>
                  <a:noFill/>
                </a:ln>
                <a:solidFill>
                  <a:srgbClr val="5F5F5F"/>
                </a:solidFill>
                <a:effectLst/>
                <a:uLnTx/>
                <a:uFillTx/>
              </a:rPr>
              <a:t>modelo</a:t>
            </a:r>
            <a:r>
              <a:rPr kumimoji="0" lang="en-US" sz="2400" b="1"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a:ln>
                  <a:noFill/>
                </a:ln>
                <a:solidFill>
                  <a:srgbClr val="5F5F5F"/>
                </a:solidFill>
                <a:effectLst/>
                <a:uLnTx/>
                <a:uFillTx/>
              </a:rPr>
              <a:t>que, dado un nuevo </a:t>
            </a:r>
            <a:r>
              <a:rPr kumimoji="0" lang="en-US" sz="2400" b="0" i="0" u="none" strike="noStrike" kern="0" cap="none" spc="0" normalizeH="0" baseline="0" noProof="0" dirty="0" err="1">
                <a:ln>
                  <a:noFill/>
                </a:ln>
                <a:solidFill>
                  <a:srgbClr val="5F5F5F"/>
                </a:solidFill>
                <a:effectLst/>
                <a:uLnTx/>
                <a:uFillTx/>
              </a:rPr>
              <a:t>individuo</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determina</a:t>
            </a:r>
            <a:r>
              <a:rPr kumimoji="0" lang="en-US" sz="2400" b="0" i="0" u="none" strike="noStrike" kern="0" cap="none" spc="0" normalizeH="0" baseline="0" noProof="0" dirty="0">
                <a:ln>
                  <a:noFill/>
                </a:ln>
                <a:solidFill>
                  <a:srgbClr val="5F5F5F"/>
                </a:solidFill>
                <a:effectLst/>
                <a:uLnTx/>
                <a:uFillTx/>
              </a:rPr>
              <a:t> a </a:t>
            </a:r>
            <a:r>
              <a:rPr kumimoji="0" lang="en-US" sz="2400" b="1" i="0" u="none" strike="noStrike" kern="0" cap="none" spc="0" normalizeH="0" baseline="0" noProof="0" dirty="0" err="1">
                <a:ln>
                  <a:noFill/>
                </a:ln>
                <a:solidFill>
                  <a:srgbClr val="5F5F5F"/>
                </a:solidFill>
                <a:effectLst/>
                <a:uLnTx/>
                <a:uFillTx/>
              </a:rPr>
              <a:t>cuál</a:t>
            </a:r>
            <a:r>
              <a:rPr kumimoji="0" lang="en-US" sz="2400" b="1" i="0" u="none" strike="noStrike" kern="0" cap="none" spc="0" normalizeH="0" baseline="0" noProof="0" dirty="0">
                <a:ln>
                  <a:noFill/>
                </a:ln>
                <a:solidFill>
                  <a:srgbClr val="5F5F5F"/>
                </a:solidFill>
                <a:effectLst/>
                <a:uLnTx/>
                <a:uFillTx/>
              </a:rPr>
              <a:t> </a:t>
            </a:r>
            <a:r>
              <a:rPr kumimoji="0" lang="en-US" sz="2400" b="1" i="0" u="none" strike="noStrike" kern="0" cap="none" spc="0" normalizeH="0" baseline="0" noProof="0" dirty="0" err="1">
                <a:ln>
                  <a:noFill/>
                </a:ln>
                <a:solidFill>
                  <a:srgbClr val="5F5F5F"/>
                </a:solidFill>
                <a:effectLst/>
                <a:uLnTx/>
                <a:uFillTx/>
              </a:rPr>
              <a:t>clase</a:t>
            </a:r>
            <a:r>
              <a:rPr kumimoji="0" lang="en-US" sz="2400" b="1"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pertenece</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dicho</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individuo</a:t>
            </a:r>
            <a:r>
              <a:rPr kumimoji="0" lang="en-US" sz="2400" b="0" i="0" u="none" strike="noStrike" kern="0" cap="none" spc="0" normalizeH="0" baseline="0" noProof="0" dirty="0">
                <a:ln>
                  <a:noFill/>
                </a:ln>
                <a:solidFill>
                  <a:srgbClr val="5F5F5F"/>
                </a:solidFill>
                <a:effectLst/>
                <a:uLnTx/>
                <a:uFillTx/>
              </a:rPr>
              <a:t>.</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F5F5F"/>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5F5F5F"/>
                </a:solidFill>
                <a:effectLst/>
                <a:uLnTx/>
                <a:uFillTx/>
              </a:rPr>
              <a:t>La </a:t>
            </a:r>
            <a:r>
              <a:rPr kumimoji="0" lang="en-US" sz="2400" b="0" i="0" u="none" strike="noStrike" kern="0" cap="none" spc="0" normalizeH="0" baseline="0" noProof="0" dirty="0" err="1">
                <a:ln>
                  <a:noFill/>
                </a:ln>
                <a:solidFill>
                  <a:srgbClr val="5F5F5F"/>
                </a:solidFill>
                <a:effectLst/>
                <a:uLnTx/>
                <a:uFillTx/>
              </a:rPr>
              <a:t>clasificación</a:t>
            </a:r>
            <a:r>
              <a:rPr kumimoji="0" lang="en-US" sz="2400" b="0" i="0" u="none" strike="noStrike" kern="0" cap="none" spc="0" normalizeH="0" baseline="0" noProof="0" dirty="0">
                <a:ln>
                  <a:noFill/>
                </a:ln>
                <a:solidFill>
                  <a:srgbClr val="5F5F5F"/>
                </a:solidFill>
                <a:effectLst/>
                <a:uLnTx/>
                <a:uFillTx/>
              </a:rPr>
              <a:t> se </a:t>
            </a:r>
            <a:r>
              <a:rPr kumimoji="0" lang="en-US" sz="2400" b="0" i="0" u="none" strike="noStrike" kern="0" cap="none" spc="0" normalizeH="0" baseline="0" noProof="0" dirty="0" err="1">
                <a:ln>
                  <a:noFill/>
                </a:ln>
                <a:solidFill>
                  <a:srgbClr val="5F5F5F"/>
                </a:solidFill>
                <a:effectLst/>
                <a:uLnTx/>
                <a:uFillTx/>
              </a:rPr>
              <a:t>realiza</a:t>
            </a:r>
            <a:r>
              <a:rPr kumimoji="0" lang="en-US" sz="2400" b="0" i="0" u="none" strike="noStrike" kern="0" cap="none" spc="0" normalizeH="0" baseline="0" noProof="0" dirty="0">
                <a:ln>
                  <a:noFill/>
                </a:ln>
                <a:solidFill>
                  <a:srgbClr val="5F5F5F"/>
                </a:solidFill>
                <a:effectLst/>
                <a:uLnTx/>
                <a:uFillTx/>
              </a:rPr>
              <a:t> para </a:t>
            </a:r>
            <a:r>
              <a:rPr kumimoji="0" lang="en-US" sz="2400" b="1" i="0" u="none" strike="noStrike" kern="0" cap="none" spc="0" normalizeH="0" baseline="0" noProof="0" dirty="0" err="1">
                <a:ln>
                  <a:noFill/>
                </a:ln>
                <a:solidFill>
                  <a:srgbClr val="5F5F5F"/>
                </a:solidFill>
                <a:effectLst/>
                <a:uLnTx/>
                <a:uFillTx/>
              </a:rPr>
              <a:t>predecir</a:t>
            </a:r>
            <a:r>
              <a:rPr kumimoji="0" lang="en-US" sz="2400" b="1" i="0" u="none" strike="noStrike" kern="0" cap="none" spc="0" normalizeH="0" baseline="0" noProof="0" dirty="0">
                <a:ln>
                  <a:noFill/>
                </a:ln>
                <a:solidFill>
                  <a:srgbClr val="5F5F5F"/>
                </a:solidFill>
                <a:effectLst/>
                <a:uLnTx/>
                <a:uFillTx/>
              </a:rPr>
              <a:t> </a:t>
            </a:r>
            <a:r>
              <a:rPr kumimoji="0" lang="en-US" sz="2400" b="1" i="0" u="none" strike="noStrike" kern="0" cap="none" spc="0" normalizeH="0" baseline="0" noProof="0" dirty="0" err="1">
                <a:ln>
                  <a:noFill/>
                </a:ln>
                <a:solidFill>
                  <a:srgbClr val="5F5F5F"/>
                </a:solidFill>
                <a:effectLst/>
                <a:uLnTx/>
                <a:uFillTx/>
              </a:rPr>
              <a:t>etiquetas</a:t>
            </a:r>
            <a:r>
              <a:rPr kumimoji="0" lang="en-US" sz="2400" b="1" i="0" u="none" strike="noStrike" kern="0" cap="none" spc="0" normalizeH="0" baseline="0" noProof="0" dirty="0">
                <a:ln>
                  <a:noFill/>
                </a:ln>
                <a:solidFill>
                  <a:srgbClr val="5F5F5F"/>
                </a:solidFill>
                <a:effectLst/>
                <a:uLnTx/>
                <a:uFillTx/>
              </a:rPr>
              <a:t> de </a:t>
            </a:r>
            <a:r>
              <a:rPr kumimoji="0" lang="en-US" sz="2400" b="1" i="0" u="none" strike="noStrike" kern="0" cap="none" spc="0" normalizeH="0" baseline="0" noProof="0" dirty="0" err="1">
                <a:ln>
                  <a:noFill/>
                </a:ln>
                <a:solidFill>
                  <a:srgbClr val="5F5F5F"/>
                </a:solidFill>
                <a:effectLst/>
                <a:uLnTx/>
                <a:uFillTx/>
              </a:rPr>
              <a:t>categorías</a:t>
            </a:r>
            <a:r>
              <a:rPr kumimoji="0" lang="en-US" sz="2400" b="1" i="0" u="none" strike="noStrike" kern="0" cap="none" spc="0" normalizeH="0" baseline="0" noProof="0" dirty="0">
                <a:ln>
                  <a:noFill/>
                </a:ln>
                <a:solidFill>
                  <a:srgbClr val="5F5F5F"/>
                </a:solidFill>
                <a:effectLst/>
                <a:uLnTx/>
                <a:uFillTx/>
              </a:rPr>
              <a:t> o </a:t>
            </a:r>
            <a:r>
              <a:rPr kumimoji="0" lang="en-US" sz="2400" b="1" i="0" u="none" strike="noStrike" kern="0" cap="none" spc="0" normalizeH="0" baseline="0" noProof="0" dirty="0" err="1">
                <a:ln>
                  <a:noFill/>
                </a:ln>
                <a:solidFill>
                  <a:srgbClr val="5F5F5F"/>
                </a:solidFill>
                <a:effectLst/>
                <a:uLnTx/>
                <a:uFillTx/>
              </a:rPr>
              <a:t>clases</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Puede</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ser</a:t>
            </a:r>
            <a:r>
              <a:rPr kumimoji="0" lang="en-US" sz="2400" b="0" i="0" u="none" strike="noStrike" kern="0" cap="none" spc="0" normalizeH="0" baseline="0" noProof="0" dirty="0">
                <a:ln>
                  <a:noFill/>
                </a:ln>
                <a:solidFill>
                  <a:srgbClr val="5F5F5F"/>
                </a:solidFill>
                <a:effectLst/>
                <a:uLnTx/>
                <a:uFillTx/>
              </a:rPr>
              <a:t> </a:t>
            </a:r>
            <a:r>
              <a:rPr kumimoji="0" lang="es-ES" sz="2400" b="1" i="0" u="none" strike="noStrike" kern="0" cap="none" spc="0" normalizeH="0" baseline="0" noProof="0" dirty="0">
                <a:ln>
                  <a:noFill/>
                </a:ln>
                <a:solidFill>
                  <a:srgbClr val="5F5F5F"/>
                </a:solidFill>
                <a:effectLst/>
                <a:uLnTx/>
                <a:uFillTx/>
              </a:rPr>
              <a:t>clasificación binaria o clasificación </a:t>
            </a:r>
            <a:r>
              <a:rPr kumimoji="0" lang="es-ES" sz="2400" b="1" i="0" u="none" strike="noStrike" kern="0" cap="none" spc="0" normalizeH="0" baseline="0" noProof="0" dirty="0" err="1">
                <a:ln>
                  <a:noFill/>
                </a:ln>
                <a:solidFill>
                  <a:srgbClr val="5F5F5F"/>
                </a:solidFill>
                <a:effectLst/>
                <a:uLnTx/>
                <a:uFillTx/>
              </a:rPr>
              <a:t>multiclase</a:t>
            </a:r>
            <a:r>
              <a:rPr kumimoji="0" lang="es-ES" sz="2400" b="0" i="0" u="none" strike="noStrike" kern="0" cap="none" spc="0" normalizeH="0" baseline="0" noProof="0" dirty="0">
                <a:ln>
                  <a:noFill/>
                </a:ln>
                <a:solidFill>
                  <a:srgbClr val="5F5F5F"/>
                </a:solidFill>
                <a:effectLst/>
                <a:uLnTx/>
                <a:uFillTx/>
              </a:rPr>
              <a:t>.</a:t>
            </a:r>
            <a:endParaRPr kumimoji="0" lang="en-US" sz="2400" b="0" i="0" u="none" strike="noStrike" kern="0" cap="none" spc="0" normalizeH="0" baseline="0" noProof="0" dirty="0">
              <a:ln>
                <a:noFill/>
              </a:ln>
              <a:solidFill>
                <a:srgbClr val="5F5F5F"/>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F5F5F"/>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err="1">
                <a:ln>
                  <a:noFill/>
                </a:ln>
                <a:solidFill>
                  <a:srgbClr val="5F5F5F"/>
                </a:solidFill>
                <a:effectLst/>
                <a:uLnTx/>
                <a:uFillTx/>
              </a:rPr>
              <a:t>Algunos</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algoritmos</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frecuentemente</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utilizados</a:t>
            </a:r>
            <a:r>
              <a:rPr kumimoji="0" lang="en-US" sz="2400" b="0" i="0" u="none" strike="noStrike" kern="0" cap="none" spc="0" normalizeH="0" baseline="0" noProof="0" dirty="0">
                <a:ln>
                  <a:noFill/>
                </a:ln>
                <a:solidFill>
                  <a:srgbClr val="5F5F5F"/>
                </a:solidFill>
                <a:effectLst/>
                <a:uLnTx/>
                <a:uFillTx/>
              </a:rPr>
              <a:t> son:</a:t>
            </a:r>
          </a:p>
        </p:txBody>
      </p:sp>
      <p:pic>
        <p:nvPicPr>
          <p:cNvPr id="7" name="Imagen 6">
            <a:extLst>
              <a:ext uri="{FF2B5EF4-FFF2-40B4-BE49-F238E27FC236}">
                <a16:creationId xmlns:a16="http://schemas.microsoft.com/office/drawing/2014/main" id="{F85385BF-054D-40CD-A46E-EE30CB434B5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4504"/>
          <a:stretch/>
        </p:blipFill>
        <p:spPr>
          <a:xfrm>
            <a:off x="8241197" y="2458386"/>
            <a:ext cx="3496906" cy="2438733"/>
          </a:xfrm>
          <a:prstGeom prst="rect">
            <a:avLst/>
          </a:prstGeom>
        </p:spPr>
      </p:pic>
      <p:pic>
        <p:nvPicPr>
          <p:cNvPr id="8" name="Picture 8">
            <a:extLst>
              <a:ext uri="{FF2B5EF4-FFF2-40B4-BE49-F238E27FC236}">
                <a16:creationId xmlns:a16="http://schemas.microsoft.com/office/drawing/2014/main" id="{F32CBA66-3DE7-4550-AAF2-51F05992EBE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a:off x="6206130" y="3595101"/>
            <a:ext cx="4182404" cy="296653"/>
          </a:xfrm>
          <a:prstGeom prst="rect">
            <a:avLst/>
          </a:prstGeom>
        </p:spPr>
      </p:pic>
      <p:sp>
        <p:nvSpPr>
          <p:cNvPr id="9" name="Rectángulo 8">
            <a:extLst>
              <a:ext uri="{FF2B5EF4-FFF2-40B4-BE49-F238E27FC236}">
                <a16:creationId xmlns:a16="http://schemas.microsoft.com/office/drawing/2014/main" id="{BDEB9544-6B76-46F2-B04A-679E03E1B1D3}"/>
              </a:ext>
            </a:extLst>
          </p:cNvPr>
          <p:cNvSpPr/>
          <p:nvPr/>
        </p:nvSpPr>
        <p:spPr>
          <a:xfrm>
            <a:off x="3821243" y="4526874"/>
            <a:ext cx="5196839" cy="1348061"/>
          </a:xfrm>
          <a:prstGeom prst="rect">
            <a:avLst/>
          </a:prstGeom>
        </p:spPr>
        <p:txBody>
          <a:bodyPr wrap="square">
            <a:spAutoFit/>
          </a:bodyPr>
          <a:lstStyle/>
          <a:p>
            <a:pPr marL="342900" marR="0" lvl="0" indent="-342900" algn="just" defTabSz="914400" eaLnBrk="1" fontAlgn="auto" latinLnBrk="0" hangingPunct="1">
              <a:lnSpc>
                <a:spcPct val="100000"/>
              </a:lnSpc>
              <a:spcBef>
                <a:spcPct val="20000"/>
              </a:spcBef>
              <a:spcAft>
                <a:spcPts val="0"/>
              </a:spcAft>
              <a:buClrTx/>
              <a:buSzTx/>
              <a:buFontTx/>
              <a:buBlip>
                <a:blip r:embed="rId5"/>
              </a:buBlip>
              <a:tabLst/>
              <a:defRPr/>
            </a:pPr>
            <a:r>
              <a:rPr kumimoji="0" lang="es-CO" sz="2400" b="0" i="0" u="none" strike="noStrike" kern="0" cap="none" spc="0" normalizeH="0" baseline="0" noProof="0" dirty="0">
                <a:ln>
                  <a:noFill/>
                </a:ln>
                <a:solidFill>
                  <a:srgbClr val="5F5F5F"/>
                </a:solidFill>
                <a:effectLst/>
                <a:uLnTx/>
                <a:uFillTx/>
              </a:rPr>
              <a:t>Redes Neuronales</a:t>
            </a:r>
          </a:p>
          <a:p>
            <a:pPr marL="342900" marR="0" lvl="0" indent="-342900" algn="just" defTabSz="914400" eaLnBrk="1" fontAlgn="auto" latinLnBrk="0" hangingPunct="1">
              <a:lnSpc>
                <a:spcPct val="100000"/>
              </a:lnSpc>
              <a:spcBef>
                <a:spcPct val="20000"/>
              </a:spcBef>
              <a:spcAft>
                <a:spcPts val="0"/>
              </a:spcAft>
              <a:buClrTx/>
              <a:buSzTx/>
              <a:buFontTx/>
              <a:buBlip>
                <a:blip r:embed="rId5"/>
              </a:buBlip>
              <a:tabLst/>
              <a:defRPr/>
            </a:pPr>
            <a:r>
              <a:rPr kumimoji="0" lang="es-CO" sz="2400" b="0" i="0" u="none" strike="noStrike" kern="0" cap="none" spc="0" normalizeH="0" baseline="0" noProof="0" dirty="0">
                <a:ln>
                  <a:noFill/>
                </a:ln>
                <a:solidFill>
                  <a:srgbClr val="5F5F5F"/>
                </a:solidFill>
                <a:effectLst/>
                <a:uLnTx/>
                <a:uFillTx/>
              </a:rPr>
              <a:t>Máquinas de Vectores Soporte</a:t>
            </a:r>
          </a:p>
          <a:p>
            <a:pPr marL="342900" marR="0" lvl="0" indent="-342900" algn="just" defTabSz="914400" eaLnBrk="1" fontAlgn="auto" latinLnBrk="0" hangingPunct="1">
              <a:lnSpc>
                <a:spcPct val="100000"/>
              </a:lnSpc>
              <a:spcBef>
                <a:spcPct val="20000"/>
              </a:spcBef>
              <a:spcAft>
                <a:spcPts val="0"/>
              </a:spcAft>
              <a:buClrTx/>
              <a:buSzTx/>
              <a:buFontTx/>
              <a:buBlip>
                <a:blip r:embed="rId5"/>
              </a:buBlip>
              <a:tabLst/>
              <a:defRPr/>
            </a:pPr>
            <a:r>
              <a:rPr kumimoji="0" lang="es-CO" sz="2400" b="0" i="0" u="none" strike="noStrike" kern="0" cap="none" spc="0" normalizeH="0" baseline="0" noProof="0" dirty="0">
                <a:ln>
                  <a:noFill/>
                </a:ln>
                <a:solidFill>
                  <a:srgbClr val="5F5F5F"/>
                </a:solidFill>
                <a:effectLst/>
                <a:uLnTx/>
                <a:uFillTx/>
              </a:rPr>
              <a:t>k-NN</a:t>
            </a:r>
            <a:endParaRPr kumimoji="0" lang="en-US" sz="2200" b="0" i="0" u="none" strike="noStrike" kern="0" cap="none" spc="0" normalizeH="0" baseline="0" noProof="0" dirty="0">
              <a:ln>
                <a:noFill/>
              </a:ln>
              <a:solidFill>
                <a:srgbClr val="5F5F5F"/>
              </a:solidFill>
              <a:effectLst/>
              <a:uLnTx/>
              <a:uFillTx/>
            </a:endParaRPr>
          </a:p>
        </p:txBody>
      </p:sp>
      <p:sp>
        <p:nvSpPr>
          <p:cNvPr id="10" name="Rectángulo 9">
            <a:extLst>
              <a:ext uri="{FF2B5EF4-FFF2-40B4-BE49-F238E27FC236}">
                <a16:creationId xmlns:a16="http://schemas.microsoft.com/office/drawing/2014/main" id="{B43B81A3-4559-4222-8843-F3F72613050E}"/>
              </a:ext>
            </a:extLst>
          </p:cNvPr>
          <p:cNvSpPr/>
          <p:nvPr/>
        </p:nvSpPr>
        <p:spPr>
          <a:xfrm>
            <a:off x="556800" y="4526875"/>
            <a:ext cx="3520440" cy="1348061"/>
          </a:xfrm>
          <a:prstGeom prst="rect">
            <a:avLst/>
          </a:prstGeom>
        </p:spPr>
        <p:txBody>
          <a:bodyPr wrap="square">
            <a:spAutoFit/>
          </a:bodyPr>
          <a:lstStyle/>
          <a:p>
            <a:pPr marL="342900" marR="0" lvl="0" indent="-342900" algn="just" defTabSz="914400" eaLnBrk="1" fontAlgn="auto" latinLnBrk="0" hangingPunct="1">
              <a:lnSpc>
                <a:spcPct val="100000"/>
              </a:lnSpc>
              <a:spcBef>
                <a:spcPts val="0"/>
              </a:spcBef>
              <a:spcAft>
                <a:spcPts val="0"/>
              </a:spcAft>
              <a:buClrTx/>
              <a:buSzTx/>
              <a:buFontTx/>
              <a:buBlip>
                <a:blip r:embed="rId5"/>
              </a:buBlip>
              <a:tabLst/>
              <a:defRPr/>
            </a:pPr>
            <a:r>
              <a:rPr kumimoji="0" lang="es-CO" sz="2400" b="0" i="0" u="none" strike="noStrike" kern="0" cap="none" spc="0" normalizeH="0" baseline="0" noProof="0" dirty="0">
                <a:ln>
                  <a:noFill/>
                </a:ln>
                <a:solidFill>
                  <a:srgbClr val="5F5F5F"/>
                </a:solidFill>
                <a:effectLst/>
                <a:uLnTx/>
                <a:uFillTx/>
              </a:rPr>
              <a:t>Árboles de decisión</a:t>
            </a:r>
          </a:p>
          <a:p>
            <a:pPr marL="342900" marR="0" lvl="0" indent="-342900" algn="just" defTabSz="914400" eaLnBrk="1" fontAlgn="auto" latinLnBrk="0" hangingPunct="1">
              <a:lnSpc>
                <a:spcPct val="100000"/>
              </a:lnSpc>
              <a:spcBef>
                <a:spcPct val="20000"/>
              </a:spcBef>
              <a:spcAft>
                <a:spcPts val="0"/>
              </a:spcAft>
              <a:buClrTx/>
              <a:buSzTx/>
              <a:buFontTx/>
              <a:buBlip>
                <a:blip r:embed="rId5"/>
              </a:buBlip>
              <a:tabLst/>
              <a:defRPr/>
            </a:pPr>
            <a:r>
              <a:rPr kumimoji="0" lang="es-CO" sz="2400" b="0" i="0" u="none" strike="noStrike" kern="0" cap="none" spc="0" normalizeH="0" baseline="0" noProof="0" dirty="0">
                <a:ln>
                  <a:noFill/>
                </a:ln>
                <a:solidFill>
                  <a:srgbClr val="5F5F5F"/>
                </a:solidFill>
                <a:effectLst/>
                <a:uLnTx/>
                <a:uFillTx/>
              </a:rPr>
              <a:t>Bosques aleatorios</a:t>
            </a:r>
          </a:p>
          <a:p>
            <a:pPr marL="342900" marR="0" lvl="0" indent="-342900" algn="just" defTabSz="914400" eaLnBrk="1" fontAlgn="auto" latinLnBrk="0" hangingPunct="1">
              <a:lnSpc>
                <a:spcPct val="100000"/>
              </a:lnSpc>
              <a:spcBef>
                <a:spcPct val="20000"/>
              </a:spcBef>
              <a:spcAft>
                <a:spcPts val="0"/>
              </a:spcAft>
              <a:buClrTx/>
              <a:buSzTx/>
              <a:buFontTx/>
              <a:buBlip>
                <a:blip r:embed="rId5"/>
              </a:buBlip>
              <a:tabLst/>
              <a:defRPr/>
            </a:pPr>
            <a:r>
              <a:rPr kumimoji="0" lang="x-none" sz="2400" b="0" i="0" u="none" strike="noStrike" kern="0" cap="none" spc="0" normalizeH="0" baseline="0" noProof="0" dirty="0">
                <a:ln>
                  <a:noFill/>
                </a:ln>
                <a:solidFill>
                  <a:srgbClr val="5F5F5F"/>
                </a:solidFill>
                <a:effectLst/>
                <a:uLnTx/>
                <a:uFillTx/>
              </a:rPr>
              <a:t>Naïve</a:t>
            </a:r>
            <a:r>
              <a:rPr kumimoji="0" lang="es-CO" sz="2400" b="0" i="0" u="none" strike="noStrike" kern="0" cap="none" spc="0" normalizeH="0" baseline="0" noProof="0" dirty="0">
                <a:ln>
                  <a:noFill/>
                </a:ln>
                <a:solidFill>
                  <a:srgbClr val="5F5F5F"/>
                </a:solidFill>
                <a:effectLst/>
                <a:uLnTx/>
                <a:uFillTx/>
              </a:rPr>
              <a:t> Bayes</a:t>
            </a:r>
          </a:p>
        </p:txBody>
      </p:sp>
    </p:spTree>
    <p:extLst>
      <p:ext uri="{BB962C8B-B14F-4D97-AF65-F5344CB8AC3E}">
        <p14:creationId xmlns:p14="http://schemas.microsoft.com/office/powerpoint/2010/main" val="1899943226"/>
      </p:ext>
    </p:extLst>
  </p:cSld>
  <p:clrMapOvr>
    <a:masterClrMapping/>
  </p:clrMapOvr>
  <p:transition spd="slow"/>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1 Título">
            <a:extLst>
              <a:ext uri="{FF2B5EF4-FFF2-40B4-BE49-F238E27FC236}">
                <a16:creationId xmlns:a16="http://schemas.microsoft.com/office/drawing/2014/main" id="{C86440B3-58DF-4235-8981-CE33DBAF893C}"/>
              </a:ext>
            </a:extLst>
          </p:cNvPr>
          <p:cNvSpPr txBox="1">
            <a:spLocks/>
          </p:cNvSpPr>
          <p:nvPr/>
        </p:nvSpPr>
        <p:spPr>
          <a:xfrm>
            <a:off x="556800" y="474022"/>
            <a:ext cx="11173537" cy="650922"/>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marL="0" marR="0" lvl="0" indent="0" algn="l" defTabSz="914400" rtl="0" eaLnBrk="1" fontAlgn="auto" latinLnBrk="0" hangingPunct="1">
              <a:lnSpc>
                <a:spcPts val="4000"/>
              </a:lnSpc>
              <a:spcBef>
                <a:spcPct val="0"/>
              </a:spcBef>
              <a:spcAft>
                <a:spcPts val="0"/>
              </a:spcAft>
              <a:buClrTx/>
              <a:buSzTx/>
              <a:buFontTx/>
              <a:buNone/>
              <a:tabLst/>
              <a:defRPr/>
            </a:pPr>
            <a:r>
              <a:rPr kumimoji="0" lang="es-CO" sz="2800" b="1" i="0" u="none" strike="noStrike" kern="1200" cap="none" spc="0" normalizeH="0" baseline="0" noProof="0" dirty="0" err="1">
                <a:ln>
                  <a:noFill/>
                </a:ln>
                <a:solidFill>
                  <a:srgbClr val="62AC1E"/>
                </a:solidFill>
                <a:effectLst/>
                <a:uLnTx/>
                <a:uFillTx/>
                <a:latin typeface="Trebuchet MS" pitchFamily="34" charset="0"/>
                <a:ea typeface="+mj-ea"/>
                <a:cs typeface="+mj-cs"/>
              </a:rPr>
              <a:t>Clustering</a:t>
            </a:r>
            <a:endParaRPr kumimoji="0" lang="es-ES" sz="3100" b="1" i="0" u="none" strike="noStrike" kern="1200" cap="none" spc="0" normalizeH="0" baseline="0" noProof="0" dirty="0">
              <a:ln>
                <a:noFill/>
              </a:ln>
              <a:solidFill>
                <a:srgbClr val="62AC1E"/>
              </a:solidFill>
              <a:effectLst/>
              <a:uLnTx/>
              <a:uFillTx/>
              <a:latin typeface="+mn-lt"/>
              <a:ea typeface="+mn-ea"/>
              <a:cs typeface="+mn-cs"/>
            </a:endParaRPr>
          </a:p>
        </p:txBody>
      </p:sp>
      <p:sp>
        <p:nvSpPr>
          <p:cNvPr id="11" name="2 Marcador de contenido">
            <a:extLst>
              <a:ext uri="{FF2B5EF4-FFF2-40B4-BE49-F238E27FC236}">
                <a16:creationId xmlns:a16="http://schemas.microsoft.com/office/drawing/2014/main" id="{B1BBF119-EACA-4183-8ADE-E33A190B1EF1}"/>
              </a:ext>
            </a:extLst>
          </p:cNvPr>
          <p:cNvSpPr txBox="1">
            <a:spLocks/>
          </p:cNvSpPr>
          <p:nvPr/>
        </p:nvSpPr>
        <p:spPr>
          <a:xfrm>
            <a:off x="556800" y="1124944"/>
            <a:ext cx="10971365" cy="3989779"/>
          </a:xfrm>
          <a:prstGeom prst="rect">
            <a:avLst/>
          </a:prstGeom>
        </p:spPr>
        <p:txBody>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5F5F5F"/>
                </a:solidFill>
                <a:effectLst/>
                <a:uLnTx/>
                <a:uFillTx/>
              </a:rPr>
              <a:t>Clustering</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es</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una</a:t>
            </a:r>
            <a:r>
              <a:rPr kumimoji="0" lang="en-US" sz="2400" b="0" i="0" u="none" strike="noStrike" kern="0" cap="none" spc="0" normalizeH="0" baseline="0" noProof="0" dirty="0">
                <a:ln>
                  <a:noFill/>
                </a:ln>
                <a:solidFill>
                  <a:srgbClr val="5F5F5F"/>
                </a:solidFill>
                <a:effectLst/>
                <a:uLnTx/>
                <a:uFillTx/>
              </a:rPr>
              <a:t> </a:t>
            </a:r>
            <a:r>
              <a:rPr kumimoji="0" lang="en-US" sz="2400" b="1" i="0" u="none" strike="noStrike" kern="0" cap="none" spc="0" normalizeH="0" baseline="0" noProof="0" dirty="0" err="1">
                <a:ln>
                  <a:noFill/>
                </a:ln>
                <a:solidFill>
                  <a:srgbClr val="5F5F5F"/>
                </a:solidFill>
                <a:effectLst/>
                <a:uLnTx/>
                <a:uFillTx/>
              </a:rPr>
              <a:t>técnica</a:t>
            </a:r>
            <a:r>
              <a:rPr kumimoji="0" lang="en-US" sz="2400" b="1"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a:ln>
                  <a:noFill/>
                </a:ln>
                <a:solidFill>
                  <a:srgbClr val="5F5F5F"/>
                </a:solidFill>
                <a:effectLst/>
                <a:uLnTx/>
                <a:uFillTx/>
              </a:rPr>
              <a:t>que </a:t>
            </a:r>
            <a:r>
              <a:rPr kumimoji="0" lang="en-US" sz="2400" b="0" i="0" u="none" strike="noStrike" kern="0" cap="none" spc="0" normalizeH="0" baseline="0" noProof="0" dirty="0" err="1">
                <a:ln>
                  <a:noFill/>
                </a:ln>
                <a:solidFill>
                  <a:srgbClr val="5F5F5F"/>
                </a:solidFill>
                <a:effectLst/>
                <a:uLnTx/>
                <a:uFillTx/>
              </a:rPr>
              <a:t>busca</a:t>
            </a:r>
            <a:r>
              <a:rPr kumimoji="0" lang="en-US" sz="2400" b="0" i="0" u="none" strike="noStrike" kern="0" cap="none" spc="0" normalizeH="0" baseline="0" noProof="0" dirty="0">
                <a:ln>
                  <a:noFill/>
                </a:ln>
                <a:solidFill>
                  <a:srgbClr val="5F5F5F"/>
                </a:solidFill>
                <a:effectLst/>
                <a:uLnTx/>
                <a:uFillTx/>
              </a:rPr>
              <a:t> </a:t>
            </a:r>
            <a:r>
              <a:rPr kumimoji="0" lang="en-US" sz="2400" b="1" i="0" u="none" strike="noStrike" kern="0" cap="none" spc="0" normalizeH="0" baseline="0" noProof="0" dirty="0" err="1">
                <a:ln>
                  <a:noFill/>
                </a:ln>
                <a:solidFill>
                  <a:srgbClr val="5F5F5F"/>
                </a:solidFill>
                <a:effectLst/>
                <a:uLnTx/>
                <a:uFillTx/>
              </a:rPr>
              <a:t>agrupar</a:t>
            </a:r>
            <a:r>
              <a:rPr kumimoji="0" lang="en-US" sz="2400" b="1"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datos</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según</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su</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similitud</a:t>
            </a:r>
            <a:r>
              <a:rPr kumimoji="0" lang="en-US" sz="2400" b="0" i="0" u="none" strike="noStrike" kern="0" cap="none" spc="0" normalizeH="0" baseline="0" noProof="0" dirty="0">
                <a:ln>
                  <a:noFill/>
                </a:ln>
                <a:solidFill>
                  <a:srgbClr val="5F5F5F"/>
                </a:solidFill>
                <a:effectLst/>
                <a:uLnTx/>
                <a:uFillTx/>
              </a:rPr>
              <a:t>.</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F5F5F"/>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5F5F5F"/>
                </a:solidFill>
                <a:effectLst/>
                <a:uLnTx/>
                <a:uFillTx/>
              </a:rPr>
              <a:t>El </a:t>
            </a:r>
            <a:r>
              <a:rPr kumimoji="0" lang="en-US" sz="2400" b="0" i="0" u="none" strike="noStrike" kern="0" cap="none" spc="0" normalizeH="0" baseline="0" noProof="0" dirty="0" err="1">
                <a:ln>
                  <a:noFill/>
                </a:ln>
                <a:solidFill>
                  <a:srgbClr val="5F5F5F"/>
                </a:solidFill>
                <a:effectLst/>
                <a:uLnTx/>
                <a:uFillTx/>
              </a:rPr>
              <a:t>objetivo</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es</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obtener</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clústers</a:t>
            </a:r>
            <a:r>
              <a:rPr kumimoji="0" lang="en-US" sz="2400" b="0" i="0" u="none" strike="noStrike" kern="0" cap="none" spc="0" normalizeH="0" baseline="0" noProof="0" dirty="0">
                <a:ln>
                  <a:noFill/>
                </a:ln>
                <a:solidFill>
                  <a:srgbClr val="5F5F5F"/>
                </a:solidFill>
                <a:effectLst/>
                <a:uLnTx/>
                <a:uFillTx/>
              </a:rPr>
              <a:t> con </a:t>
            </a:r>
            <a:r>
              <a:rPr kumimoji="0" lang="en-US" sz="2400" b="0" i="0" u="none" strike="noStrike" kern="0" cap="none" spc="0" normalizeH="0" baseline="0" noProof="0" dirty="0" err="1">
                <a:ln>
                  <a:noFill/>
                </a:ln>
                <a:solidFill>
                  <a:srgbClr val="5F5F5F"/>
                </a:solidFill>
                <a:effectLst/>
                <a:uLnTx/>
                <a:uFillTx/>
              </a:rPr>
              <a:t>elementos</a:t>
            </a:r>
            <a:r>
              <a:rPr kumimoji="0" lang="en-US" sz="2400" b="0" i="0" u="none" strike="noStrike" kern="0" cap="none" spc="0" normalizeH="0" baseline="0" noProof="0" dirty="0">
                <a:ln>
                  <a:noFill/>
                </a:ln>
                <a:solidFill>
                  <a:srgbClr val="5F5F5F"/>
                </a:solidFill>
                <a:effectLst/>
                <a:uLnTx/>
                <a:uFillTx/>
              </a:rPr>
              <a:t> que </a:t>
            </a:r>
            <a:r>
              <a:rPr kumimoji="0" lang="en-US" sz="2400" b="0" i="0" u="none" strike="noStrike" kern="0" cap="none" spc="0" normalizeH="0" baseline="0" noProof="0" dirty="0" err="1">
                <a:ln>
                  <a:noFill/>
                </a:ln>
                <a:solidFill>
                  <a:srgbClr val="5F5F5F"/>
                </a:solidFill>
                <a:effectLst/>
                <a:uLnTx/>
                <a:uFillTx/>
              </a:rPr>
              <a:t>tengan</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alta</a:t>
            </a:r>
            <a:r>
              <a:rPr kumimoji="0" lang="en-US" sz="2400" b="0" i="0" u="none" strike="noStrike" kern="0" cap="none" spc="0" normalizeH="0" baseline="0" noProof="0" dirty="0">
                <a:ln>
                  <a:noFill/>
                </a:ln>
                <a:solidFill>
                  <a:srgbClr val="5F5F5F"/>
                </a:solidFill>
                <a:effectLst/>
                <a:uLnTx/>
                <a:uFillTx/>
              </a:rPr>
              <a:t> </a:t>
            </a:r>
            <a:r>
              <a:rPr kumimoji="0" lang="en-US" sz="2400" b="0" i="0" u="none" strike="noStrike" kern="0" cap="none" spc="0" normalizeH="0" baseline="0" noProof="0" dirty="0" err="1">
                <a:ln>
                  <a:noFill/>
                </a:ln>
                <a:solidFill>
                  <a:srgbClr val="5F5F5F"/>
                </a:solidFill>
                <a:effectLst/>
                <a:uLnTx/>
                <a:uFillTx/>
              </a:rPr>
              <a:t>similitud</a:t>
            </a:r>
            <a:r>
              <a:rPr kumimoji="0" lang="en-US" sz="2400" b="0" i="0" u="none" strike="noStrike" kern="0" cap="none" spc="0" normalizeH="0" baseline="0" noProof="0" dirty="0">
                <a:ln>
                  <a:noFill/>
                </a:ln>
                <a:solidFill>
                  <a:srgbClr val="5F5F5F"/>
                </a:solidFill>
                <a:effectLst/>
                <a:uLnTx/>
                <a:uFillTx/>
              </a:rPr>
              <a:t> entre </a:t>
            </a:r>
            <a:r>
              <a:rPr kumimoji="0" lang="en-US" sz="2400" b="0" i="0" u="none" strike="noStrike" kern="0" cap="none" spc="0" normalizeH="0" baseline="0" noProof="0" dirty="0" err="1">
                <a:ln>
                  <a:noFill/>
                </a:ln>
                <a:solidFill>
                  <a:srgbClr val="5F5F5F"/>
                </a:solidFill>
                <a:effectLst/>
                <a:uLnTx/>
                <a:uFillTx/>
              </a:rPr>
              <a:t>ellos</a:t>
            </a:r>
            <a:r>
              <a:rPr kumimoji="0" lang="en-US" sz="2400" b="0" i="0" u="none" strike="noStrike" kern="0" cap="none" spc="0" normalizeH="0" baseline="0" noProof="0" dirty="0">
                <a:ln>
                  <a:noFill/>
                </a:ln>
                <a:solidFill>
                  <a:srgbClr val="5F5F5F"/>
                </a:solidFill>
                <a:effectLst/>
                <a:uLnTx/>
                <a:uFillTx/>
              </a:rPr>
              <a:t> (</a:t>
            </a:r>
            <a:r>
              <a:rPr kumimoji="0" lang="en-US" sz="2400" b="1" i="0" u="none" strike="noStrike" kern="0" cap="none" spc="0" normalizeH="0" baseline="0" noProof="0" dirty="0" err="1">
                <a:ln>
                  <a:noFill/>
                </a:ln>
                <a:solidFill>
                  <a:srgbClr val="5F5F5F"/>
                </a:solidFill>
                <a:effectLst/>
                <a:uLnTx/>
                <a:uFillTx/>
              </a:rPr>
              <a:t>similitud</a:t>
            </a:r>
            <a:r>
              <a:rPr kumimoji="0" lang="en-US" sz="2400" b="1" i="0" u="none" strike="noStrike" kern="0" cap="none" spc="0" normalizeH="0" baseline="0" noProof="0" dirty="0">
                <a:ln>
                  <a:noFill/>
                </a:ln>
                <a:solidFill>
                  <a:srgbClr val="5F5F5F"/>
                </a:solidFill>
                <a:effectLst/>
                <a:uLnTx/>
                <a:uFillTx/>
              </a:rPr>
              <a:t> intra-cluster </a:t>
            </a:r>
            <a:r>
              <a:rPr kumimoji="0" lang="en-US" sz="2400" b="1" i="0" u="none" strike="noStrike" kern="0" cap="none" spc="0" normalizeH="0" baseline="0" noProof="0" dirty="0" err="1">
                <a:ln>
                  <a:noFill/>
                </a:ln>
                <a:solidFill>
                  <a:srgbClr val="5F5F5F"/>
                </a:solidFill>
                <a:effectLst/>
                <a:uLnTx/>
                <a:uFillTx/>
              </a:rPr>
              <a:t>alta</a:t>
            </a:r>
            <a:r>
              <a:rPr kumimoji="0" lang="en-US" sz="2400" b="0" i="0" u="none" strike="noStrike" kern="0" cap="none" spc="0" normalizeH="0" baseline="0" noProof="0" dirty="0">
                <a:ln>
                  <a:noFill/>
                </a:ln>
                <a:solidFill>
                  <a:srgbClr val="5F5F5F"/>
                </a:solidFill>
                <a:effectLst/>
                <a:uLnTx/>
                <a:uFillTx/>
              </a:rPr>
              <a:t>) y </a:t>
            </a:r>
            <a:r>
              <a:rPr kumimoji="0" lang="en-US" sz="2400" b="0" i="0" u="none" strike="noStrike" kern="0" cap="none" spc="0" normalizeH="0" baseline="0" noProof="0" dirty="0" err="1">
                <a:ln>
                  <a:noFill/>
                </a:ln>
                <a:solidFill>
                  <a:srgbClr val="5F5F5F"/>
                </a:solidFill>
                <a:effectLst/>
                <a:uLnTx/>
                <a:uFillTx/>
              </a:rPr>
              <a:t>baja</a:t>
            </a:r>
            <a:r>
              <a:rPr kumimoji="0" lang="en-US" sz="2400" b="0" i="0" u="none" strike="noStrike" kern="0" cap="none" spc="0" normalizeH="0" baseline="0" noProof="0" dirty="0">
                <a:ln>
                  <a:noFill/>
                </a:ln>
                <a:solidFill>
                  <a:srgbClr val="5F5F5F"/>
                </a:solidFill>
                <a:effectLst/>
                <a:uLnTx/>
                <a:uFillTx/>
              </a:rPr>
              <a:t> </a:t>
            </a:r>
            <a:r>
              <a:rPr kumimoji="0" lang="es-ES" sz="2400" b="0" i="0" u="none" strike="noStrike" kern="0" cap="none" spc="0" normalizeH="0" baseline="0" noProof="0" dirty="0">
                <a:ln>
                  <a:noFill/>
                </a:ln>
                <a:solidFill>
                  <a:srgbClr val="5F5F5F"/>
                </a:solidFill>
                <a:effectLst/>
                <a:uLnTx/>
                <a:uFillTx/>
              </a:rPr>
              <a:t>similitud con objetos de otros </a:t>
            </a:r>
            <a:r>
              <a:rPr kumimoji="0" lang="es-ES" sz="2400" b="0" i="0" u="none" strike="noStrike" kern="0" cap="none" spc="0" normalizeH="0" baseline="0" noProof="0" dirty="0" err="1">
                <a:ln>
                  <a:noFill/>
                </a:ln>
                <a:solidFill>
                  <a:srgbClr val="5F5F5F"/>
                </a:solidFill>
                <a:effectLst/>
                <a:uLnTx/>
                <a:uFillTx/>
              </a:rPr>
              <a:t>clústers</a:t>
            </a:r>
            <a:r>
              <a:rPr kumimoji="0" lang="es-ES" sz="2400" b="0" i="0" u="none" strike="noStrike" kern="0" cap="none" spc="0" normalizeH="0" baseline="0" noProof="0" dirty="0">
                <a:ln>
                  <a:noFill/>
                </a:ln>
                <a:solidFill>
                  <a:srgbClr val="5F5F5F"/>
                </a:solidFill>
                <a:effectLst/>
                <a:uLnTx/>
                <a:uFillTx/>
              </a:rPr>
              <a:t> (</a:t>
            </a:r>
            <a:r>
              <a:rPr kumimoji="0" lang="es-ES" sz="2400" b="1" i="0" u="none" strike="noStrike" kern="0" cap="none" spc="0" normalizeH="0" baseline="0" noProof="0" dirty="0">
                <a:ln>
                  <a:noFill/>
                </a:ln>
                <a:solidFill>
                  <a:srgbClr val="5F5F5F"/>
                </a:solidFill>
                <a:effectLst/>
                <a:uLnTx/>
                <a:uFillTx/>
              </a:rPr>
              <a:t>similitud inter-clúster baja</a:t>
            </a:r>
            <a:r>
              <a:rPr kumimoji="0" lang="es-ES" sz="2400" b="0" i="0" u="none" strike="noStrike" kern="0" cap="none" spc="0" normalizeH="0" baseline="0" noProof="0" dirty="0">
                <a:ln>
                  <a:noFill/>
                </a:ln>
                <a:solidFill>
                  <a:srgbClr val="5F5F5F"/>
                </a:solidFill>
                <a:effectLst/>
                <a:uLnTx/>
                <a:uFillTx/>
              </a:rPr>
              <a:t>).</a:t>
            </a:r>
            <a:endParaRPr kumimoji="0" lang="en-US" sz="2400" b="0" i="0" u="none" strike="noStrike" kern="0" cap="none" spc="0" normalizeH="0" baseline="0" noProof="0" dirty="0">
              <a:ln>
                <a:noFill/>
              </a:ln>
              <a:solidFill>
                <a:srgbClr val="5F5F5F"/>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F5F5F"/>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s-419" sz="2400" b="0" i="0" u="none" strike="noStrike" kern="0" cap="none" spc="0" normalizeH="0" baseline="0" noProof="0" dirty="0">
                <a:ln>
                  <a:noFill/>
                </a:ln>
                <a:solidFill>
                  <a:srgbClr val="5F5F5F"/>
                </a:solidFill>
                <a:effectLst/>
                <a:uLnTx/>
                <a:uFillTx/>
              </a:rPr>
              <a:t>Algunos algoritmos frecuentemente utilizados son:</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s-419" sz="2400" b="1" i="0" u="none" strike="noStrike" kern="0" cap="none" spc="0" normalizeH="0" baseline="0" noProof="0" dirty="0">
              <a:ln>
                <a:noFill/>
              </a:ln>
              <a:solidFill>
                <a:srgbClr val="5F5F5F"/>
              </a:solidFill>
              <a:effectLst/>
              <a:uLnTx/>
              <a:uFillTx/>
            </a:endParaRPr>
          </a:p>
          <a:p>
            <a:pPr marL="342900" marR="0" lvl="0" indent="-342900" algn="just" defTabSz="914400" eaLnBrk="1" fontAlgn="auto" latinLnBrk="0" hangingPunct="1">
              <a:lnSpc>
                <a:spcPct val="100000"/>
              </a:lnSpc>
              <a:spcBef>
                <a:spcPts val="0"/>
              </a:spcBef>
              <a:spcAft>
                <a:spcPts val="0"/>
              </a:spcAft>
              <a:buClrTx/>
              <a:buSzTx/>
              <a:buFontTx/>
              <a:buBlip>
                <a:blip r:embed="rId3"/>
              </a:buBlip>
              <a:tabLst/>
              <a:defRPr/>
            </a:pPr>
            <a:r>
              <a:rPr kumimoji="0" lang="es-419" sz="2400" b="0" i="0" u="none" strike="noStrike" kern="0" cap="none" spc="0" normalizeH="0" baseline="0" noProof="0" dirty="0">
                <a:ln>
                  <a:noFill/>
                </a:ln>
                <a:solidFill>
                  <a:srgbClr val="5F5F5F"/>
                </a:solidFill>
                <a:effectLst/>
                <a:uLnTx/>
                <a:uFillTx/>
              </a:rPr>
              <a:t>k-Medias (k-</a:t>
            </a:r>
            <a:r>
              <a:rPr kumimoji="0" lang="es-419" sz="2400" b="0" i="0" u="none" strike="noStrike" kern="0" cap="none" spc="0" normalizeH="0" baseline="0" noProof="0" dirty="0" err="1">
                <a:ln>
                  <a:noFill/>
                </a:ln>
                <a:solidFill>
                  <a:srgbClr val="5F5F5F"/>
                </a:solidFill>
                <a:effectLst/>
                <a:uLnTx/>
                <a:uFillTx/>
              </a:rPr>
              <a:t>Means</a:t>
            </a:r>
            <a:r>
              <a:rPr kumimoji="0" lang="es-419" sz="2400" b="0" i="0" u="none" strike="noStrike" kern="0" cap="none" spc="0" normalizeH="0" baseline="0" noProof="0" dirty="0">
                <a:ln>
                  <a:noFill/>
                </a:ln>
                <a:solidFill>
                  <a:srgbClr val="5F5F5F"/>
                </a:solidFill>
                <a:effectLst/>
                <a:uLnTx/>
                <a:uFillTx/>
              </a:rPr>
              <a:t>)</a:t>
            </a:r>
          </a:p>
          <a:p>
            <a:pPr marL="342900" marR="0" lvl="0" indent="-342900" algn="just" defTabSz="914400" eaLnBrk="1" fontAlgn="auto" latinLnBrk="0" hangingPunct="1">
              <a:lnSpc>
                <a:spcPct val="100000"/>
              </a:lnSpc>
              <a:spcBef>
                <a:spcPts val="0"/>
              </a:spcBef>
              <a:spcAft>
                <a:spcPts val="0"/>
              </a:spcAft>
              <a:buClrTx/>
              <a:buSzTx/>
              <a:buFontTx/>
              <a:buBlip>
                <a:blip r:embed="rId3"/>
              </a:buBlip>
              <a:tabLst/>
              <a:defRPr/>
            </a:pPr>
            <a:r>
              <a:rPr kumimoji="0" lang="es-419" sz="2400" b="0" i="0" u="none" strike="noStrike" kern="0" cap="none" spc="0" normalizeH="0" baseline="0" noProof="0" dirty="0">
                <a:ln>
                  <a:noFill/>
                </a:ln>
                <a:solidFill>
                  <a:srgbClr val="5F5F5F"/>
                </a:solidFill>
                <a:effectLst/>
                <a:uLnTx/>
                <a:uFillTx/>
              </a:rPr>
              <a:t>k-</a:t>
            </a:r>
            <a:r>
              <a:rPr kumimoji="0" lang="es-419" sz="2400" b="0" i="0" u="none" strike="noStrike" kern="0" cap="none" spc="0" normalizeH="0" baseline="0" noProof="0" dirty="0" err="1">
                <a:ln>
                  <a:noFill/>
                </a:ln>
                <a:solidFill>
                  <a:srgbClr val="5F5F5F"/>
                </a:solidFill>
                <a:effectLst/>
                <a:uLnTx/>
                <a:uFillTx/>
              </a:rPr>
              <a:t>Medioides</a:t>
            </a:r>
            <a:r>
              <a:rPr kumimoji="0" lang="es-419" sz="2400" b="0" i="0" u="none" strike="noStrike" kern="0" cap="none" spc="0" normalizeH="0" baseline="0" noProof="0" dirty="0">
                <a:ln>
                  <a:noFill/>
                </a:ln>
                <a:solidFill>
                  <a:srgbClr val="5F5F5F"/>
                </a:solidFill>
                <a:effectLst/>
                <a:uLnTx/>
                <a:uFillTx/>
              </a:rPr>
              <a:t> (k-</a:t>
            </a:r>
            <a:r>
              <a:rPr kumimoji="0" lang="es-419" sz="2400" b="0" i="0" u="none" strike="noStrike" kern="0" cap="none" spc="0" normalizeH="0" baseline="0" noProof="0" dirty="0" err="1">
                <a:ln>
                  <a:noFill/>
                </a:ln>
                <a:solidFill>
                  <a:srgbClr val="5F5F5F"/>
                </a:solidFill>
                <a:effectLst/>
                <a:uLnTx/>
                <a:uFillTx/>
              </a:rPr>
              <a:t>Medoids</a:t>
            </a:r>
            <a:r>
              <a:rPr kumimoji="0" lang="es-419" sz="2400" b="0" i="0" u="none" strike="noStrike" kern="0" cap="none" spc="0" normalizeH="0" baseline="0" noProof="0" dirty="0">
                <a:ln>
                  <a:noFill/>
                </a:ln>
                <a:solidFill>
                  <a:srgbClr val="5F5F5F"/>
                </a:solidFill>
                <a:effectLst/>
                <a:uLnTx/>
                <a:uFillTx/>
              </a:rPr>
              <a:t>)</a:t>
            </a:r>
          </a:p>
          <a:p>
            <a:pPr marL="342900" marR="0" lvl="0" indent="-342900" algn="just" defTabSz="914400" eaLnBrk="1" fontAlgn="auto" latinLnBrk="0" hangingPunct="1">
              <a:lnSpc>
                <a:spcPct val="100000"/>
              </a:lnSpc>
              <a:spcBef>
                <a:spcPts val="0"/>
              </a:spcBef>
              <a:spcAft>
                <a:spcPts val="0"/>
              </a:spcAft>
              <a:buClrTx/>
              <a:buSzTx/>
              <a:buFontTx/>
              <a:buBlip>
                <a:blip r:embed="rId3"/>
              </a:buBlip>
              <a:tabLst/>
              <a:defRPr/>
            </a:pPr>
            <a:r>
              <a:rPr kumimoji="0" lang="es-419" sz="2400" b="0" i="0" u="none" strike="noStrike" kern="0" cap="none" spc="0" normalizeH="0" baseline="0" noProof="0" dirty="0">
                <a:ln>
                  <a:noFill/>
                </a:ln>
                <a:solidFill>
                  <a:srgbClr val="5F5F5F"/>
                </a:solidFill>
                <a:effectLst/>
                <a:uLnTx/>
                <a:uFillTx/>
              </a:rPr>
              <a:t>EM (</a:t>
            </a:r>
            <a:r>
              <a:rPr kumimoji="0" lang="es-CO" sz="2400" b="0" i="0" u="none" strike="noStrike" kern="0" cap="none" spc="0" normalizeH="0" baseline="0" noProof="0" dirty="0" err="1">
                <a:ln>
                  <a:noFill/>
                </a:ln>
                <a:solidFill>
                  <a:srgbClr val="5F5F5F"/>
                </a:solidFill>
                <a:effectLst/>
                <a:uLnTx/>
                <a:uFillTx/>
              </a:rPr>
              <a:t>Expectation</a:t>
            </a:r>
            <a:r>
              <a:rPr kumimoji="0" lang="es-CO" sz="2400" b="0" i="0" u="none" strike="noStrike" kern="0" cap="none" spc="0" normalizeH="0" baseline="0" noProof="0" dirty="0">
                <a:ln>
                  <a:noFill/>
                </a:ln>
                <a:solidFill>
                  <a:srgbClr val="5F5F5F"/>
                </a:solidFill>
                <a:effectLst/>
                <a:uLnTx/>
                <a:uFillTx/>
              </a:rPr>
              <a:t> </a:t>
            </a:r>
            <a:r>
              <a:rPr kumimoji="0" lang="es-CO" sz="2400" b="0" i="0" u="none" strike="noStrike" kern="0" cap="none" spc="0" normalizeH="0" baseline="0" noProof="0" dirty="0" err="1">
                <a:ln>
                  <a:noFill/>
                </a:ln>
                <a:solidFill>
                  <a:srgbClr val="5F5F5F"/>
                </a:solidFill>
                <a:effectLst/>
                <a:uLnTx/>
                <a:uFillTx/>
              </a:rPr>
              <a:t>Maximisation</a:t>
            </a:r>
            <a:r>
              <a:rPr kumimoji="0" lang="es-CO" sz="2400" b="0" i="0" u="none" strike="noStrike" kern="0" cap="none" spc="0" normalizeH="0" baseline="0" noProof="0" dirty="0">
                <a:ln>
                  <a:noFill/>
                </a:ln>
                <a:solidFill>
                  <a:srgbClr val="5F5F5F"/>
                </a:solidFill>
                <a:effectLst/>
                <a:uLnTx/>
                <a:uFillTx/>
              </a:rPr>
              <a:t>)</a:t>
            </a:r>
            <a:endParaRPr kumimoji="0" lang="en-US" sz="2400" b="0" i="0" u="none" strike="noStrike" kern="0" cap="none" spc="0" normalizeH="0" baseline="0" noProof="0" dirty="0">
              <a:ln>
                <a:noFill/>
              </a:ln>
              <a:solidFill>
                <a:srgbClr val="5F5F5F"/>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s-419" sz="2300" b="0" i="0" u="none" strike="noStrike" kern="0" cap="none" spc="0" normalizeH="0" baseline="0" noProof="0" dirty="0">
              <a:ln>
                <a:noFill/>
              </a:ln>
              <a:solidFill>
                <a:srgbClr val="5F5F5F"/>
              </a:solidFill>
              <a:effectLst/>
              <a:uLnTx/>
              <a:uFillTx/>
              <a:latin typeface="+mj-lt"/>
            </a:endParaRPr>
          </a:p>
        </p:txBody>
      </p:sp>
      <p:pic>
        <p:nvPicPr>
          <p:cNvPr id="12" name="Imagen 11">
            <a:extLst>
              <a:ext uri="{FF2B5EF4-FFF2-40B4-BE49-F238E27FC236}">
                <a16:creationId xmlns:a16="http://schemas.microsoft.com/office/drawing/2014/main" id="{68E78256-953A-4584-B68F-ADF6F727B7D3}"/>
              </a:ext>
            </a:extLst>
          </p:cNvPr>
          <p:cNvPicPr>
            <a:picLocks noChangeAspect="1"/>
          </p:cNvPicPr>
          <p:nvPr/>
        </p:nvPicPr>
        <p:blipFill rotWithShape="1">
          <a:blip r:embed="rId4">
            <a:extLst>
              <a:ext uri="{28A0092B-C50C-407E-A947-70E740481C1C}">
                <a14:useLocalDpi xmlns:a14="http://schemas.microsoft.com/office/drawing/2010/main" val="0"/>
              </a:ext>
            </a:extLst>
          </a:blip>
          <a:srcRect l="6297" t="8428" r="7600" b="5000"/>
          <a:stretch/>
        </p:blipFill>
        <p:spPr>
          <a:xfrm>
            <a:off x="7573878" y="3258152"/>
            <a:ext cx="3954287" cy="2868479"/>
          </a:xfrm>
          <a:prstGeom prst="rect">
            <a:avLst/>
          </a:prstGeom>
        </p:spPr>
      </p:pic>
      <p:pic>
        <p:nvPicPr>
          <p:cNvPr id="13" name="Picture 8">
            <a:extLst>
              <a:ext uri="{FF2B5EF4-FFF2-40B4-BE49-F238E27FC236}">
                <a16:creationId xmlns:a16="http://schemas.microsoft.com/office/drawing/2014/main" id="{FE51E3EE-251F-44B1-B920-A8B24DC64BF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6200000">
            <a:off x="5189044" y="4610660"/>
            <a:ext cx="4182404" cy="312275"/>
          </a:xfrm>
          <a:prstGeom prst="rect">
            <a:avLst/>
          </a:prstGeom>
        </p:spPr>
      </p:pic>
    </p:spTree>
    <p:extLst>
      <p:ext uri="{BB962C8B-B14F-4D97-AF65-F5344CB8AC3E}">
        <p14:creationId xmlns:p14="http://schemas.microsoft.com/office/powerpoint/2010/main" val="3621062037"/>
      </p:ext>
    </p:extLst>
  </p:cSld>
  <p:clrMapOvr>
    <a:masterClrMapping/>
  </p:clrMapOvr>
  <p:transition spd="slow"/>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lum contrast="12000"/>
            <a:extLst>
              <a:ext uri="{28A0092B-C50C-407E-A947-70E740481C1C}">
                <a14:useLocalDpi xmlns:a14="http://schemas.microsoft.com/office/drawing/2010/main" val="0"/>
              </a:ext>
            </a:extLst>
          </a:blip>
          <a:stretch>
            <a:fillRect/>
          </a:stretch>
        </p:blipFill>
        <p:spPr>
          <a:xfrm>
            <a:off x="2583480" y="950258"/>
            <a:ext cx="6665452" cy="5166060"/>
          </a:xfrm>
          <a:prstGeom prst="rect">
            <a:avLst/>
          </a:prstGeom>
        </p:spPr>
      </p:pic>
      <p:sp>
        <p:nvSpPr>
          <p:cNvPr id="7" name="1 Título"/>
          <p:cNvSpPr txBox="1">
            <a:spLocks/>
          </p:cNvSpPr>
          <p:nvPr/>
        </p:nvSpPr>
        <p:spPr>
          <a:xfrm rot="20964619">
            <a:off x="3665263" y="1705107"/>
            <a:ext cx="4501886" cy="3375932"/>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3200" b="1" i="0" u="none" strike="noStrike" kern="1200" cap="none" spc="0" normalizeH="0" baseline="0" noProof="0" dirty="0">
                <a:ln>
                  <a:noFill/>
                </a:ln>
                <a:solidFill>
                  <a:srgbClr val="008A07"/>
                </a:solidFill>
                <a:effectLst/>
                <a:uLnTx/>
                <a:uFillTx/>
                <a:latin typeface="Trebuchet MS" panose="020B0603020202020204" pitchFamily="34" charset="0"/>
                <a:ea typeface="+mj-ea"/>
                <a:cs typeface="+mj-cs"/>
              </a:rPr>
              <a:t>Supervisado o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3200" b="1" i="0" u="none" strike="noStrike" kern="1200" cap="none" spc="0" normalizeH="0" baseline="0" noProof="0" dirty="0">
                <a:ln>
                  <a:noFill/>
                </a:ln>
                <a:solidFill>
                  <a:srgbClr val="008A07"/>
                </a:solidFill>
                <a:effectLst/>
                <a:uLnTx/>
                <a:uFillTx/>
                <a:latin typeface="Trebuchet MS" panose="020B0603020202020204" pitchFamily="34" charset="0"/>
                <a:ea typeface="+mj-ea"/>
                <a:cs typeface="+mj-cs"/>
              </a:rPr>
              <a:t>No Supervisado?</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3200" b="1" i="0" u="none" strike="noStrike" kern="1200" cap="none" spc="0" normalizeH="0" baseline="0" noProof="0" dirty="0">
                <a:ln>
                  <a:noFill/>
                </a:ln>
                <a:solidFill>
                  <a:srgbClr val="008A07"/>
                </a:solidFill>
                <a:effectLst/>
                <a:uLnTx/>
                <a:uFillTx/>
                <a:latin typeface="Trebuchet MS" panose="020B0603020202020204" pitchFamily="34" charset="0"/>
                <a:ea typeface="+mj-ea"/>
                <a:cs typeface="+mj-cs"/>
              </a:rPr>
              <a:t>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3200" b="1" i="0" u="none" strike="noStrike" kern="1200" cap="none" spc="0" normalizeH="0" baseline="0" noProof="0" dirty="0">
                <a:ln>
                  <a:noFill/>
                </a:ln>
                <a:solidFill>
                  <a:srgbClr val="008A07"/>
                </a:solidFill>
                <a:effectLst/>
                <a:uLnTx/>
                <a:uFillTx/>
                <a:latin typeface="Trebuchet MS" panose="020B0603020202020204" pitchFamily="34" charset="0"/>
                <a:ea typeface="+mj-ea"/>
                <a:cs typeface="+mj-cs"/>
              </a:rPr>
              <a:t>C</a:t>
            </a:r>
            <a:r>
              <a:rPr kumimoji="0" lang="en-US" sz="3200" b="1" i="0" u="none" strike="noStrike" kern="1200" cap="none" spc="0" normalizeH="0" baseline="0" noProof="0" dirty="0" err="1">
                <a:ln>
                  <a:noFill/>
                </a:ln>
                <a:solidFill>
                  <a:srgbClr val="008A07"/>
                </a:solidFill>
                <a:effectLst/>
                <a:uLnTx/>
                <a:uFillTx/>
                <a:latin typeface="Trebuchet MS" panose="020B0603020202020204" pitchFamily="34" charset="0"/>
                <a:ea typeface="+mj-ea"/>
                <a:cs typeface="+mj-cs"/>
              </a:rPr>
              <a:t>lasificación</a:t>
            </a:r>
            <a:r>
              <a:rPr kumimoji="0" lang="en-US" sz="3200" b="1" i="0" u="none" strike="noStrike" kern="1200" cap="none" spc="0" normalizeH="0" baseline="0" noProof="0" dirty="0">
                <a:ln>
                  <a:noFill/>
                </a:ln>
                <a:solidFill>
                  <a:srgbClr val="008A07"/>
                </a:solidFill>
                <a:effectLst/>
                <a:uLnTx/>
                <a:uFillTx/>
                <a:latin typeface="Trebuchet MS" panose="020B0603020202020204" pitchFamily="34" charset="0"/>
                <a:ea typeface="+mj-ea"/>
                <a:cs typeface="+mj-cs"/>
              </a:rPr>
              <a:t>, </a:t>
            </a:r>
            <a:r>
              <a:rPr kumimoji="0" lang="en-US" sz="3200" b="1" i="0" u="none" strike="noStrike" kern="1200" cap="none" spc="0" normalizeH="0" baseline="0" noProof="0" dirty="0" err="1">
                <a:ln>
                  <a:noFill/>
                </a:ln>
                <a:solidFill>
                  <a:srgbClr val="008A07"/>
                </a:solidFill>
                <a:effectLst/>
                <a:uLnTx/>
                <a:uFillTx/>
                <a:latin typeface="Trebuchet MS" panose="020B0603020202020204" pitchFamily="34" charset="0"/>
                <a:ea typeface="+mj-ea"/>
                <a:cs typeface="+mj-cs"/>
              </a:rPr>
              <a:t>Regresión</a:t>
            </a:r>
            <a:r>
              <a:rPr kumimoji="0" lang="en-US" sz="3200" b="1" i="0" u="none" strike="noStrike" kern="1200" cap="none" spc="0" normalizeH="0" baseline="0" noProof="0" dirty="0">
                <a:ln>
                  <a:noFill/>
                </a:ln>
                <a:solidFill>
                  <a:srgbClr val="008A07"/>
                </a:solidFill>
                <a:effectLst/>
                <a:uLnTx/>
                <a:uFillTx/>
                <a:latin typeface="Trebuchet MS" panose="020B0603020202020204" pitchFamily="34" charset="0"/>
                <a:ea typeface="+mj-ea"/>
                <a:cs typeface="+mj-cs"/>
              </a:rPr>
              <a:t> o Clustering?</a:t>
            </a:r>
            <a:endParaRPr kumimoji="0" lang="es-CO" sz="3200" b="1" i="0" u="none" strike="noStrike" kern="1200" cap="none" spc="0" normalizeH="0" baseline="0" noProof="0" dirty="0">
              <a:ln>
                <a:noFill/>
              </a:ln>
              <a:solidFill>
                <a:srgbClr val="008A07"/>
              </a:solidFill>
              <a:effectLst/>
              <a:uLnTx/>
              <a:uFillTx/>
              <a:latin typeface="Trebuchet MS" panose="020B0603020202020204" pitchFamily="34" charset="0"/>
              <a:ea typeface="+mj-ea"/>
              <a:cs typeface="+mj-cs"/>
            </a:endParaRPr>
          </a:p>
        </p:txBody>
      </p:sp>
      <p:sp>
        <p:nvSpPr>
          <p:cNvPr id="8" name="1 Título">
            <a:extLst>
              <a:ext uri="{FF2B5EF4-FFF2-40B4-BE49-F238E27FC236}">
                <a16:creationId xmlns:a16="http://schemas.microsoft.com/office/drawing/2014/main" id="{C2D4E9D6-B297-4211-B02A-ED5C55FD6F91}"/>
              </a:ext>
            </a:extLst>
          </p:cNvPr>
          <p:cNvSpPr txBox="1">
            <a:spLocks/>
          </p:cNvSpPr>
          <p:nvPr/>
        </p:nvSpPr>
        <p:spPr>
          <a:xfrm>
            <a:off x="1443967" y="449629"/>
            <a:ext cx="9538868" cy="650922"/>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marL="0" marR="0" lvl="0" indent="0" algn="l" defTabSz="914400" rtl="0" eaLnBrk="1" fontAlgn="auto" latinLnBrk="0" hangingPunct="1">
              <a:lnSpc>
                <a:spcPts val="4000"/>
              </a:lnSpc>
              <a:spcBef>
                <a:spcPct val="0"/>
              </a:spcBef>
              <a:spcAft>
                <a:spcPts val="0"/>
              </a:spcAft>
              <a:buClrTx/>
              <a:buSzTx/>
              <a:buFontTx/>
              <a:buNone/>
              <a:tabLst/>
              <a:defRPr/>
            </a:pPr>
            <a:r>
              <a:rPr kumimoji="0" lang="x-none" sz="3200" b="1" i="0" u="none" strike="noStrike" kern="1200" cap="none" spc="0" normalizeH="0" baseline="0" noProof="0" dirty="0">
                <a:ln>
                  <a:noFill/>
                </a:ln>
                <a:solidFill>
                  <a:srgbClr val="62AC1E"/>
                </a:solidFill>
                <a:effectLst/>
                <a:uLnTx/>
                <a:uFillTx/>
                <a:latin typeface="+mn-lt"/>
                <a:ea typeface="+mn-ea"/>
                <a:cs typeface="+mn-cs"/>
              </a:rPr>
              <a:t>Ejercicio</a:t>
            </a:r>
            <a:r>
              <a:rPr kumimoji="0" lang="es-CO" sz="3200" b="1" i="0" u="none" strike="noStrike" kern="1200" cap="none" spc="0" normalizeH="0" baseline="0" noProof="0" dirty="0">
                <a:ln>
                  <a:noFill/>
                </a:ln>
                <a:solidFill>
                  <a:srgbClr val="62AC1E"/>
                </a:solidFill>
                <a:effectLst/>
                <a:uLnTx/>
                <a:uFillTx/>
                <a:latin typeface="+mn-lt"/>
                <a:ea typeface="+mn-ea"/>
                <a:cs typeface="+mn-cs"/>
              </a:rPr>
              <a:t> grupal</a:t>
            </a:r>
            <a:endParaRPr kumimoji="0" lang="es-ES" sz="3200" b="1" i="0" u="none" strike="noStrike" kern="1200" cap="none" spc="0" normalizeH="0" baseline="0" noProof="0" dirty="0">
              <a:ln>
                <a:noFill/>
              </a:ln>
              <a:solidFill>
                <a:srgbClr val="62AC1E"/>
              </a:solidFill>
              <a:effectLst/>
              <a:uLnTx/>
              <a:uFillTx/>
              <a:latin typeface="+mn-lt"/>
              <a:ea typeface="+mn-ea"/>
              <a:cs typeface="+mn-cs"/>
            </a:endParaRPr>
          </a:p>
        </p:txBody>
      </p:sp>
      <p:pic>
        <p:nvPicPr>
          <p:cNvPr id="6" name="Imagen 5">
            <a:extLst>
              <a:ext uri="{FF2B5EF4-FFF2-40B4-BE49-F238E27FC236}">
                <a16:creationId xmlns:a16="http://schemas.microsoft.com/office/drawing/2014/main" id="{B8C965E0-1B22-473D-B371-BF7275E3758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0453" y="449629"/>
            <a:ext cx="753514" cy="753514"/>
          </a:xfrm>
          <a:prstGeom prst="rect">
            <a:avLst/>
          </a:prstGeom>
        </p:spPr>
      </p:pic>
    </p:spTree>
    <p:extLst>
      <p:ext uri="{BB962C8B-B14F-4D97-AF65-F5344CB8AC3E}">
        <p14:creationId xmlns:p14="http://schemas.microsoft.com/office/powerpoint/2010/main" val="288108584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a:extLst>
              <a:ext uri="{FF2B5EF4-FFF2-40B4-BE49-F238E27FC236}">
                <a16:creationId xmlns:a16="http://schemas.microsoft.com/office/drawing/2014/main" id="{C86440B3-58DF-4235-8981-CE33DBAF893C}"/>
              </a:ext>
            </a:extLst>
          </p:cNvPr>
          <p:cNvSpPr txBox="1">
            <a:spLocks/>
          </p:cNvSpPr>
          <p:nvPr/>
        </p:nvSpPr>
        <p:spPr>
          <a:xfrm>
            <a:off x="629966" y="302767"/>
            <a:ext cx="11062867"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marL="0" marR="0" lvl="0" indent="0" algn="l" defTabSz="914400" rtl="0" eaLnBrk="1" fontAlgn="auto" latinLnBrk="0" hangingPunct="1">
              <a:lnSpc>
                <a:spcPts val="4000"/>
              </a:lnSpc>
              <a:spcBef>
                <a:spcPct val="0"/>
              </a:spcBef>
              <a:spcAft>
                <a:spcPts val="0"/>
              </a:spcAft>
              <a:buClrTx/>
              <a:buSzTx/>
              <a:buFontTx/>
              <a:buNone/>
              <a:tabLst/>
              <a:defRPr/>
            </a:pPr>
            <a:r>
              <a:rPr lang="es-ES" sz="3200" dirty="0" smtClean="0">
                <a:solidFill>
                  <a:srgbClr val="62AC1E"/>
                </a:solidFill>
                <a:latin typeface="+mn-lt"/>
                <a:ea typeface="+mn-ea"/>
                <a:cs typeface="+mn-cs"/>
              </a:rPr>
              <a:t>Deep Blue</a:t>
            </a:r>
            <a:endParaRPr lang="es-ES" sz="3200" dirty="0">
              <a:solidFill>
                <a:srgbClr val="62AC1E"/>
              </a:solidFill>
              <a:latin typeface="+mn-lt"/>
              <a:ea typeface="+mn-ea"/>
              <a:cs typeface="+mn-cs"/>
            </a:endParaRPr>
          </a:p>
        </p:txBody>
      </p:sp>
      <p:sp>
        <p:nvSpPr>
          <p:cNvPr id="22" name="Rectángulo 21">
            <a:hlinkClick r:id="rId3" action="ppaction://hlinksldjump"/>
            <a:extLst>
              <a:ext uri="{FF2B5EF4-FFF2-40B4-BE49-F238E27FC236}">
                <a16:creationId xmlns:a16="http://schemas.microsoft.com/office/drawing/2014/main" id="{D74CF98F-7C90-458D-9C1B-84ACBD608615}"/>
              </a:ext>
            </a:extLst>
          </p:cNvPr>
          <p:cNvSpPr/>
          <p:nvPr/>
        </p:nvSpPr>
        <p:spPr>
          <a:xfrm>
            <a:off x="11126560" y="22705"/>
            <a:ext cx="942535" cy="534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2" name="Imagen 1"/>
          <p:cNvPicPr>
            <a:picLocks noChangeAspect="1"/>
          </p:cNvPicPr>
          <p:nvPr/>
        </p:nvPicPr>
        <p:blipFill>
          <a:blip r:embed="rId4"/>
          <a:stretch>
            <a:fillRect/>
          </a:stretch>
        </p:blipFill>
        <p:spPr>
          <a:xfrm>
            <a:off x="1395117" y="1233952"/>
            <a:ext cx="9532563" cy="4092027"/>
          </a:xfrm>
          <a:prstGeom prst="rect">
            <a:avLst/>
          </a:prstGeom>
        </p:spPr>
      </p:pic>
    </p:spTree>
    <p:extLst>
      <p:ext uri="{BB962C8B-B14F-4D97-AF65-F5344CB8AC3E}">
        <p14:creationId xmlns:p14="http://schemas.microsoft.com/office/powerpoint/2010/main" val="139737977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1"/>
          <p:cNvSpPr txBox="1">
            <a:spLocks/>
          </p:cNvSpPr>
          <p:nvPr/>
        </p:nvSpPr>
        <p:spPr>
          <a:xfrm>
            <a:off x="590924" y="451952"/>
            <a:ext cx="10801601" cy="314399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R="0" lvl="0" algn="just" defTabSz="914400" rtl="0" eaLnBrk="1" fontAlgn="auto" latinLnBrk="0" hangingPunct="1">
              <a:lnSpc>
                <a:spcPct val="90000"/>
              </a:lnSpc>
              <a:spcBef>
                <a:spcPct val="0"/>
              </a:spcBef>
              <a:spcAft>
                <a:spcPts val="0"/>
              </a:spcAft>
              <a:buClrTx/>
              <a:buSzTx/>
              <a:tabLst/>
              <a:defRPr/>
            </a:pPr>
            <a:r>
              <a:rPr kumimoji="0" lang="en-US" sz="3200" b="0" i="0" u="none" strike="noStrike" kern="1200" cap="none" spc="0" normalizeH="0" baseline="0" noProof="0" dirty="0">
                <a:ln>
                  <a:noFill/>
                </a:ln>
                <a:solidFill>
                  <a:srgbClr val="5F5F5F"/>
                </a:solidFill>
                <a:effectLst/>
                <a:uLnTx/>
                <a:uFillTx/>
                <a:latin typeface="+mn-lt"/>
                <a:ea typeface="+mn-ea"/>
                <a:cs typeface="+mn-cs"/>
              </a:rPr>
              <a:t>Se </a:t>
            </a:r>
            <a:r>
              <a:rPr kumimoji="0" lang="x-none" sz="3200" b="0" i="0" u="none" strike="noStrike" kern="1200" cap="none" spc="0" normalizeH="0" baseline="0" noProof="0" dirty="0">
                <a:ln>
                  <a:noFill/>
                </a:ln>
                <a:solidFill>
                  <a:srgbClr val="5F5F5F"/>
                </a:solidFill>
                <a:effectLst/>
                <a:uLnTx/>
                <a:uFillTx/>
                <a:latin typeface="+mn-lt"/>
                <a:ea typeface="+mn-ea"/>
                <a:cs typeface="+mn-cs"/>
              </a:rPr>
              <a:t>está considerando lanzar un nuevo producto al mercado y se desea conocer si será</a:t>
            </a:r>
            <a:r>
              <a:rPr kumimoji="0" lang="en-US" sz="3200" b="0" i="0" u="none" strike="noStrike" kern="1200" cap="none" spc="0" normalizeH="0" baseline="0" noProof="0" dirty="0">
                <a:ln>
                  <a:noFill/>
                </a:ln>
                <a:solidFill>
                  <a:srgbClr val="5F5F5F"/>
                </a:solidFill>
                <a:effectLst/>
                <a:uLnTx/>
                <a:uFillTx/>
                <a:latin typeface="+mn-lt"/>
                <a:ea typeface="+mn-ea"/>
                <a:cs typeface="+mn-cs"/>
              </a:rPr>
              <a:t> </a:t>
            </a:r>
            <a:r>
              <a:rPr kumimoji="0" lang="x-none" sz="3200" b="0" i="0" u="none" strike="noStrike" kern="1200" cap="none" spc="0" normalizeH="0" baseline="0" noProof="0" dirty="0">
                <a:ln>
                  <a:noFill/>
                </a:ln>
                <a:solidFill>
                  <a:srgbClr val="5F5F5F"/>
                </a:solidFill>
                <a:effectLst/>
                <a:uLnTx/>
                <a:uFillTx/>
                <a:latin typeface="+mn-lt"/>
                <a:ea typeface="+mn-ea"/>
                <a:cs typeface="+mn-cs"/>
              </a:rPr>
              <a:t>un éxito o un fracaso</a:t>
            </a:r>
            <a:r>
              <a:rPr kumimoji="0" lang="en-US" sz="3200" b="0" i="0" u="none" strike="noStrike" kern="1200" cap="none" spc="0" normalizeH="0" baseline="0" noProof="0" dirty="0">
                <a:ln>
                  <a:noFill/>
                </a:ln>
                <a:solidFill>
                  <a:srgbClr val="5F5F5F"/>
                </a:solidFill>
                <a:effectLst/>
                <a:uLnTx/>
                <a:uFillTx/>
                <a:latin typeface="+mn-lt"/>
                <a:ea typeface="+mn-ea"/>
                <a:cs typeface="+mn-cs"/>
              </a:rPr>
              <a:t>. Se </a:t>
            </a:r>
            <a:r>
              <a:rPr kumimoji="0" lang="x-none" sz="3200" b="0" i="0" u="none" strike="noStrike" kern="1200" cap="none" spc="0" normalizeH="0" baseline="0" noProof="0" dirty="0">
                <a:ln>
                  <a:noFill/>
                </a:ln>
                <a:solidFill>
                  <a:srgbClr val="5F5F5F"/>
                </a:solidFill>
                <a:effectLst/>
                <a:uLnTx/>
                <a:uFillTx/>
                <a:latin typeface="+mn-lt"/>
                <a:ea typeface="+mn-ea"/>
                <a:cs typeface="+mn-cs"/>
              </a:rPr>
              <a:t>recolectaron</a:t>
            </a:r>
            <a:r>
              <a:rPr kumimoji="0" lang="en-US" sz="3200" b="0" i="0" u="none" strike="noStrike" kern="1200" cap="none" spc="0" normalizeH="0" baseline="0" noProof="0" dirty="0">
                <a:ln>
                  <a:noFill/>
                </a:ln>
                <a:solidFill>
                  <a:srgbClr val="5F5F5F"/>
                </a:solidFill>
                <a:effectLst/>
                <a:uLnTx/>
                <a:uFillTx/>
                <a:latin typeface="+mn-lt"/>
                <a:ea typeface="+mn-ea"/>
                <a:cs typeface="+mn-cs"/>
              </a:rPr>
              <a:t> </a:t>
            </a:r>
            <a:r>
              <a:rPr kumimoji="0" lang="x-none" sz="3200" b="0" i="0" u="none" strike="noStrike" kern="1200" cap="none" spc="0" normalizeH="0" baseline="0" noProof="0" dirty="0">
                <a:ln>
                  <a:noFill/>
                </a:ln>
                <a:solidFill>
                  <a:srgbClr val="5F5F5F"/>
                </a:solidFill>
                <a:effectLst/>
                <a:uLnTx/>
                <a:uFillTx/>
                <a:latin typeface="+mn-lt"/>
                <a:ea typeface="+mn-ea"/>
                <a:cs typeface="+mn-cs"/>
              </a:rPr>
              <a:t>datos de </a:t>
            </a:r>
            <a:r>
              <a:rPr kumimoji="0" lang="es-CO" sz="3200" b="0" i="0" u="none" strike="noStrike" kern="1200" cap="none" spc="0" normalizeH="0" baseline="0" noProof="0" dirty="0">
                <a:ln>
                  <a:noFill/>
                </a:ln>
                <a:solidFill>
                  <a:srgbClr val="5F5F5F"/>
                </a:solidFill>
                <a:effectLst/>
                <a:uLnTx/>
                <a:uFillTx/>
                <a:latin typeface="+mn-lt"/>
                <a:ea typeface="+mn-ea"/>
                <a:cs typeface="+mn-cs"/>
              </a:rPr>
              <a:t>50</a:t>
            </a:r>
            <a:r>
              <a:rPr kumimoji="0" lang="x-none" sz="3200" b="0" i="0" u="none" strike="noStrike" kern="1200" cap="none" spc="0" normalizeH="0" baseline="0" noProof="0" dirty="0">
                <a:ln>
                  <a:noFill/>
                </a:ln>
                <a:solidFill>
                  <a:srgbClr val="5F5F5F"/>
                </a:solidFill>
                <a:effectLst/>
                <a:uLnTx/>
                <a:uFillTx/>
                <a:latin typeface="+mn-lt"/>
                <a:ea typeface="+mn-ea"/>
                <a:cs typeface="+mn-cs"/>
              </a:rPr>
              <a:t>0 productos similares que fueron</a:t>
            </a:r>
            <a:r>
              <a:rPr kumimoji="0" lang="en-US" sz="3200" b="0" i="0" u="none" strike="noStrike" kern="1200" cap="none" spc="0" normalizeH="0" baseline="0" noProof="0" dirty="0">
                <a:ln>
                  <a:noFill/>
                </a:ln>
                <a:solidFill>
                  <a:srgbClr val="5F5F5F"/>
                </a:solidFill>
                <a:effectLst/>
                <a:uLnTx/>
                <a:uFillTx/>
                <a:latin typeface="+mn-lt"/>
                <a:ea typeface="+mn-ea"/>
                <a:cs typeface="+mn-cs"/>
              </a:rPr>
              <a:t> </a:t>
            </a:r>
            <a:r>
              <a:rPr kumimoji="0" lang="x-none" sz="3200" b="0" i="0" u="none" strike="noStrike" kern="1200" cap="none" spc="0" normalizeH="0" baseline="0" noProof="0" dirty="0">
                <a:ln>
                  <a:noFill/>
                </a:ln>
                <a:solidFill>
                  <a:srgbClr val="5F5F5F"/>
                </a:solidFill>
                <a:effectLst/>
                <a:uLnTx/>
                <a:uFillTx/>
                <a:latin typeface="+mn-lt"/>
                <a:ea typeface="+mn-ea"/>
                <a:cs typeface="+mn-cs"/>
              </a:rPr>
              <a:t>lanzados</a:t>
            </a:r>
            <a:r>
              <a:rPr kumimoji="0" lang="en-US" sz="3200" b="0" i="0" u="none" strike="noStrike" kern="1200" cap="none" spc="0" normalizeH="0" baseline="0" noProof="0" dirty="0">
                <a:ln>
                  <a:noFill/>
                </a:ln>
                <a:solidFill>
                  <a:srgbClr val="5F5F5F"/>
                </a:solidFill>
                <a:effectLst/>
                <a:uLnTx/>
                <a:uFillTx/>
                <a:latin typeface="+mn-lt"/>
                <a:ea typeface="+mn-ea"/>
                <a:cs typeface="+mn-cs"/>
              </a:rPr>
              <a:t> </a:t>
            </a:r>
            <a:r>
              <a:rPr kumimoji="0" lang="x-none" sz="3200" b="0" i="0" u="none" strike="noStrike" kern="1200" cap="none" spc="0" normalizeH="0" baseline="0" noProof="0" dirty="0">
                <a:ln>
                  <a:noFill/>
                </a:ln>
                <a:solidFill>
                  <a:srgbClr val="5F5F5F"/>
                </a:solidFill>
                <a:effectLst/>
                <a:uLnTx/>
                <a:uFillTx/>
                <a:latin typeface="+mn-lt"/>
                <a:ea typeface="+mn-ea"/>
                <a:cs typeface="+mn-cs"/>
              </a:rPr>
              <a:t>previamente. Para cada producto se tiene almacenado el precio, el presupuesto de mercadeo y publicidad, el precio de la competencia y otras 10 variables. Además, se conoce si los productos fueron un éxito o un fracaso.</a:t>
            </a:r>
          </a:p>
        </p:txBody>
      </p:sp>
      <p:pic>
        <p:nvPicPr>
          <p:cNvPr id="7" name="Picture 11">
            <a:extLst>
              <a:ext uri="{FF2B5EF4-FFF2-40B4-BE49-F238E27FC236}">
                <a16:creationId xmlns:a16="http://schemas.microsoft.com/office/drawing/2014/main" id="{0BA18BF4-A831-41A4-BDDE-D19861FFB5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2084" y="3753385"/>
            <a:ext cx="7480851" cy="2495805"/>
          </a:xfrm>
          <a:prstGeom prst="rect">
            <a:avLst/>
          </a:prstGeom>
          <a:effectLst>
            <a:outerShdw blurRad="355600" dist="38100" dir="2700000" algn="tl" rotWithShape="0">
              <a:prstClr val="black">
                <a:alpha val="28000"/>
              </a:prstClr>
            </a:outerShdw>
          </a:effectLst>
        </p:spPr>
      </p:pic>
      <p:sp>
        <p:nvSpPr>
          <p:cNvPr id="8" name="CuadroTexto 7">
            <a:extLst>
              <a:ext uri="{FF2B5EF4-FFF2-40B4-BE49-F238E27FC236}">
                <a16:creationId xmlns:a16="http://schemas.microsoft.com/office/drawing/2014/main" id="{03FB6AAA-1665-4C6F-9B9E-AC340CAD6381}"/>
              </a:ext>
            </a:extLst>
          </p:cNvPr>
          <p:cNvSpPr txBox="1"/>
          <p:nvPr/>
        </p:nvSpPr>
        <p:spPr>
          <a:xfrm>
            <a:off x="2884878" y="4260464"/>
            <a:ext cx="6577740" cy="707886"/>
          </a:xfrm>
          <a:prstGeom prst="rect">
            <a:avLst/>
          </a:prstGeom>
        </p:spPr>
        <p:txBody>
          <a:bodyPr wrap="square" rtlCol="0">
            <a:sp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s-ES" sz="4000" b="1" i="0" u="none" strike="noStrike" kern="0" cap="none" spc="0" normalizeH="0" baseline="0" noProof="0" dirty="0">
                <a:ln>
                  <a:noFill/>
                </a:ln>
                <a:solidFill>
                  <a:srgbClr val="007934"/>
                </a:solidFill>
                <a:effectLst/>
                <a:uLnTx/>
                <a:uFillTx/>
                <a:latin typeface="Trebuchet MS" pitchFamily="34" charset="0"/>
                <a:ea typeface="+mj-ea"/>
                <a:cs typeface="+mj-cs"/>
              </a:rPr>
              <a:t>Supervisado</a:t>
            </a:r>
            <a:endParaRPr kumimoji="0" lang="x-none" sz="4000" b="1" i="0" u="none" strike="noStrike" kern="0" cap="none" spc="0" normalizeH="0" baseline="0" noProof="0" dirty="0">
              <a:ln>
                <a:noFill/>
              </a:ln>
              <a:solidFill>
                <a:srgbClr val="007934"/>
              </a:solidFill>
              <a:effectLst/>
              <a:uLnTx/>
              <a:uFillTx/>
              <a:latin typeface="Trebuchet MS" pitchFamily="34" charset="0"/>
              <a:ea typeface="+mj-ea"/>
              <a:cs typeface="+mj-cs"/>
            </a:endParaRPr>
          </a:p>
        </p:txBody>
      </p:sp>
      <p:sp>
        <p:nvSpPr>
          <p:cNvPr id="13" name="CuadroTexto 12">
            <a:extLst>
              <a:ext uri="{FF2B5EF4-FFF2-40B4-BE49-F238E27FC236}">
                <a16:creationId xmlns:a16="http://schemas.microsoft.com/office/drawing/2014/main" id="{02EF2CA5-DB0C-4FC3-BEF7-A8D5C0C6C159}"/>
              </a:ext>
            </a:extLst>
          </p:cNvPr>
          <p:cNvSpPr txBox="1"/>
          <p:nvPr/>
        </p:nvSpPr>
        <p:spPr>
          <a:xfrm>
            <a:off x="2897796" y="5125787"/>
            <a:ext cx="6577740" cy="707886"/>
          </a:xfrm>
          <a:prstGeom prst="rect">
            <a:avLst/>
          </a:prstGeom>
        </p:spPr>
        <p:txBody>
          <a:bodyPr wrap="square" rtlCol="0">
            <a:sp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s-ES" sz="4000" b="1" i="0" u="none" strike="noStrike" kern="0" cap="none" spc="0" normalizeH="0" baseline="0" noProof="0" dirty="0">
                <a:ln>
                  <a:noFill/>
                </a:ln>
                <a:solidFill>
                  <a:srgbClr val="007934"/>
                </a:solidFill>
                <a:effectLst/>
                <a:uLnTx/>
                <a:uFillTx/>
                <a:latin typeface="Trebuchet MS" pitchFamily="34" charset="0"/>
                <a:ea typeface="+mj-ea"/>
                <a:cs typeface="+mj-cs"/>
              </a:rPr>
              <a:t>Clasificación</a:t>
            </a:r>
            <a:endParaRPr kumimoji="0" lang="x-none" sz="4000" b="1" i="0" u="none" strike="noStrike" kern="0" cap="none" spc="0" normalizeH="0" baseline="0" noProof="0" dirty="0">
              <a:ln>
                <a:noFill/>
              </a:ln>
              <a:solidFill>
                <a:srgbClr val="007934"/>
              </a:solidFill>
              <a:effectLst/>
              <a:uLnTx/>
              <a:uFillTx/>
              <a:latin typeface="Trebuchet MS" pitchFamily="34" charset="0"/>
              <a:ea typeface="+mj-ea"/>
              <a:cs typeface="+mj-cs"/>
            </a:endParaRPr>
          </a:p>
        </p:txBody>
      </p:sp>
    </p:spTree>
    <p:extLst>
      <p:ext uri="{BB962C8B-B14F-4D97-AF65-F5344CB8AC3E}">
        <p14:creationId xmlns:p14="http://schemas.microsoft.com/office/powerpoint/2010/main" val="21357498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ítulo 1"/>
          <p:cNvSpPr txBox="1">
            <a:spLocks/>
          </p:cNvSpPr>
          <p:nvPr/>
        </p:nvSpPr>
        <p:spPr>
          <a:xfrm>
            <a:off x="691798" y="467273"/>
            <a:ext cx="10732957" cy="262668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R="0" lvl="0" algn="just" defTabSz="914400" rtl="0" eaLnBrk="1" fontAlgn="auto" latinLnBrk="0" hangingPunct="1">
              <a:lnSpc>
                <a:spcPct val="90000"/>
              </a:lnSpc>
              <a:spcBef>
                <a:spcPct val="0"/>
              </a:spcBef>
              <a:spcAft>
                <a:spcPts val="0"/>
              </a:spcAft>
              <a:buClrTx/>
              <a:buSzTx/>
              <a:tabLst/>
              <a:defRPr/>
            </a:pPr>
            <a:r>
              <a:rPr kumimoji="0" lang="en-US" sz="3200" b="0" i="0" u="none" strike="noStrike" kern="1200" cap="none" spc="0" normalizeH="0" baseline="0" noProof="0" dirty="0">
                <a:ln>
                  <a:noFill/>
                </a:ln>
                <a:solidFill>
                  <a:srgbClr val="5F5F5F"/>
                </a:solidFill>
                <a:effectLst/>
                <a:uLnTx/>
                <a:uFillTx/>
                <a:latin typeface="+mn-lt"/>
                <a:ea typeface="+mn-ea"/>
                <a:cs typeface="+mn-cs"/>
              </a:rPr>
              <a:t>Se </a:t>
            </a:r>
            <a:r>
              <a:rPr kumimoji="0" lang="en-US" sz="3200" b="0" i="0" u="none" strike="noStrike" kern="1200" cap="none" spc="0" normalizeH="0" baseline="0" noProof="0" dirty="0" err="1">
                <a:ln>
                  <a:noFill/>
                </a:ln>
                <a:solidFill>
                  <a:srgbClr val="5F5F5F"/>
                </a:solidFill>
                <a:effectLst/>
                <a:uLnTx/>
                <a:uFillTx/>
                <a:latin typeface="+mn-lt"/>
                <a:ea typeface="+mn-ea"/>
                <a:cs typeface="+mn-cs"/>
              </a:rPr>
              <a:t>coleccionan</a:t>
            </a:r>
            <a:r>
              <a:rPr kumimoji="0" lang="en-US" sz="3200" b="0" i="0" u="none" strike="noStrike" kern="1200" cap="none" spc="0" normalizeH="0" baseline="0" noProof="0" dirty="0">
                <a:ln>
                  <a:noFill/>
                </a:ln>
                <a:solidFill>
                  <a:srgbClr val="5F5F5F"/>
                </a:solidFill>
                <a:effectLst/>
                <a:uLnTx/>
                <a:uFillTx/>
                <a:latin typeface="+mn-lt"/>
                <a:ea typeface="+mn-ea"/>
                <a:cs typeface="+mn-cs"/>
              </a:rPr>
              <a:t> </a:t>
            </a:r>
            <a:r>
              <a:rPr kumimoji="0" lang="en-US" sz="3200" b="0" i="0" u="none" strike="noStrike" kern="1200" cap="none" spc="0" normalizeH="0" baseline="0" noProof="0" dirty="0" err="1">
                <a:ln>
                  <a:noFill/>
                </a:ln>
                <a:solidFill>
                  <a:srgbClr val="5F5F5F"/>
                </a:solidFill>
                <a:effectLst/>
                <a:uLnTx/>
                <a:uFillTx/>
                <a:latin typeface="+mn-lt"/>
                <a:ea typeface="+mn-ea"/>
                <a:cs typeface="+mn-cs"/>
              </a:rPr>
              <a:t>datos</a:t>
            </a:r>
            <a:r>
              <a:rPr kumimoji="0" lang="en-US" sz="3200" b="0" i="0" u="none" strike="noStrike" kern="1200" cap="none" spc="0" normalizeH="0" baseline="0" noProof="0" dirty="0">
                <a:ln>
                  <a:noFill/>
                </a:ln>
                <a:solidFill>
                  <a:srgbClr val="5F5F5F"/>
                </a:solidFill>
                <a:effectLst/>
                <a:uLnTx/>
                <a:uFillTx/>
                <a:latin typeface="+mn-lt"/>
                <a:ea typeface="+mn-ea"/>
                <a:cs typeface="+mn-cs"/>
              </a:rPr>
              <a:t> de las 100 </a:t>
            </a:r>
            <a:r>
              <a:rPr kumimoji="0" lang="en-US" sz="3200" b="0" i="0" u="none" strike="noStrike" kern="1200" cap="none" spc="0" normalizeH="0" baseline="0" noProof="0" dirty="0" err="1">
                <a:ln>
                  <a:noFill/>
                </a:ln>
                <a:solidFill>
                  <a:srgbClr val="5F5F5F"/>
                </a:solidFill>
                <a:effectLst/>
                <a:uLnTx/>
                <a:uFillTx/>
                <a:latin typeface="+mn-lt"/>
                <a:ea typeface="+mn-ea"/>
                <a:cs typeface="+mn-cs"/>
              </a:rPr>
              <a:t>empresas</a:t>
            </a:r>
            <a:r>
              <a:rPr kumimoji="0" lang="en-US" sz="3200" b="0" i="0" u="none" strike="noStrike" kern="1200" cap="none" spc="0" normalizeH="0" baseline="0" noProof="0" dirty="0">
                <a:ln>
                  <a:noFill/>
                </a:ln>
                <a:solidFill>
                  <a:srgbClr val="5F5F5F"/>
                </a:solidFill>
                <a:effectLst/>
                <a:uLnTx/>
                <a:uFillTx/>
                <a:latin typeface="+mn-lt"/>
                <a:ea typeface="+mn-ea"/>
                <a:cs typeface="+mn-cs"/>
              </a:rPr>
              <a:t> </a:t>
            </a:r>
            <a:r>
              <a:rPr kumimoji="0" lang="en-US" sz="3200" b="0" i="0" u="none" strike="noStrike" kern="1200" cap="none" spc="0" normalizeH="0" baseline="0" noProof="0" dirty="0" err="1">
                <a:ln>
                  <a:noFill/>
                </a:ln>
                <a:solidFill>
                  <a:srgbClr val="5F5F5F"/>
                </a:solidFill>
                <a:effectLst/>
                <a:uLnTx/>
                <a:uFillTx/>
                <a:latin typeface="+mn-lt"/>
                <a:ea typeface="+mn-ea"/>
                <a:cs typeface="+mn-cs"/>
              </a:rPr>
              <a:t>principales</a:t>
            </a:r>
            <a:r>
              <a:rPr kumimoji="0" lang="en-US" sz="3200" b="0" i="0" u="none" strike="noStrike" kern="1200" cap="none" spc="0" normalizeH="0" baseline="0" noProof="0" dirty="0">
                <a:ln>
                  <a:noFill/>
                </a:ln>
                <a:solidFill>
                  <a:srgbClr val="5F5F5F"/>
                </a:solidFill>
                <a:effectLst/>
                <a:uLnTx/>
                <a:uFillTx/>
                <a:latin typeface="+mn-lt"/>
                <a:ea typeface="+mn-ea"/>
                <a:cs typeface="+mn-cs"/>
              </a:rPr>
              <a:t> en Colombia. De </a:t>
            </a:r>
            <a:r>
              <a:rPr kumimoji="0" lang="en-US" sz="3200" b="0" i="0" u="none" strike="noStrike" kern="1200" cap="none" spc="0" normalizeH="0" baseline="0" noProof="0" dirty="0" err="1">
                <a:ln>
                  <a:noFill/>
                </a:ln>
                <a:solidFill>
                  <a:srgbClr val="5F5F5F"/>
                </a:solidFill>
                <a:effectLst/>
                <a:uLnTx/>
                <a:uFillTx/>
                <a:latin typeface="+mn-lt"/>
                <a:ea typeface="+mn-ea"/>
                <a:cs typeface="+mn-cs"/>
              </a:rPr>
              <a:t>cada</a:t>
            </a:r>
            <a:r>
              <a:rPr kumimoji="0" lang="en-US" sz="3200" b="0" i="0" u="none" strike="noStrike" kern="1200" cap="none" spc="0" normalizeH="0" baseline="0" noProof="0" dirty="0">
                <a:ln>
                  <a:noFill/>
                </a:ln>
                <a:solidFill>
                  <a:srgbClr val="5F5F5F"/>
                </a:solidFill>
                <a:effectLst/>
                <a:uLnTx/>
                <a:uFillTx/>
                <a:latin typeface="+mn-lt"/>
                <a:ea typeface="+mn-ea"/>
                <a:cs typeface="+mn-cs"/>
              </a:rPr>
              <a:t> </a:t>
            </a:r>
            <a:r>
              <a:rPr kumimoji="0" lang="en-US" sz="3200" b="0" i="0" u="none" strike="noStrike" kern="1200" cap="none" spc="0" normalizeH="0" baseline="0" noProof="0" dirty="0" err="1">
                <a:ln>
                  <a:noFill/>
                </a:ln>
                <a:solidFill>
                  <a:srgbClr val="5F5F5F"/>
                </a:solidFill>
                <a:effectLst/>
                <a:uLnTx/>
                <a:uFillTx/>
                <a:latin typeface="+mn-lt"/>
                <a:ea typeface="+mn-ea"/>
                <a:cs typeface="+mn-cs"/>
              </a:rPr>
              <a:t>empresa</a:t>
            </a:r>
            <a:r>
              <a:rPr kumimoji="0" lang="en-US" sz="3200" b="0" i="0" u="none" strike="noStrike" kern="1200" cap="none" spc="0" normalizeH="0" baseline="0" noProof="0" dirty="0">
                <a:ln>
                  <a:noFill/>
                </a:ln>
                <a:solidFill>
                  <a:srgbClr val="5F5F5F"/>
                </a:solidFill>
                <a:effectLst/>
                <a:uLnTx/>
                <a:uFillTx/>
                <a:latin typeface="+mn-lt"/>
                <a:ea typeface="+mn-ea"/>
                <a:cs typeface="+mn-cs"/>
              </a:rPr>
              <a:t> se </a:t>
            </a:r>
            <a:r>
              <a:rPr kumimoji="0" lang="en-US" sz="3200" b="0" i="0" u="none" strike="noStrike" kern="1200" cap="none" spc="0" normalizeH="0" baseline="0" noProof="0" dirty="0" err="1">
                <a:ln>
                  <a:noFill/>
                </a:ln>
                <a:solidFill>
                  <a:srgbClr val="5F5F5F"/>
                </a:solidFill>
                <a:effectLst/>
                <a:uLnTx/>
                <a:uFillTx/>
                <a:latin typeface="+mn-lt"/>
                <a:ea typeface="+mn-ea"/>
                <a:cs typeface="+mn-cs"/>
              </a:rPr>
              <a:t>cuenta</a:t>
            </a:r>
            <a:r>
              <a:rPr kumimoji="0" lang="en-US" sz="3200" b="0" i="0" u="none" strike="noStrike" kern="1200" cap="none" spc="0" normalizeH="0" baseline="0" noProof="0" dirty="0">
                <a:ln>
                  <a:noFill/>
                </a:ln>
                <a:solidFill>
                  <a:srgbClr val="5F5F5F"/>
                </a:solidFill>
                <a:effectLst/>
                <a:uLnTx/>
                <a:uFillTx/>
                <a:latin typeface="+mn-lt"/>
                <a:ea typeface="+mn-ea"/>
                <a:cs typeface="+mn-cs"/>
              </a:rPr>
              <a:t> con las </a:t>
            </a:r>
            <a:r>
              <a:rPr kumimoji="0" lang="en-US" sz="3200" b="0" i="0" u="none" strike="noStrike" kern="1200" cap="none" spc="0" normalizeH="0" baseline="0" noProof="0" dirty="0" err="1">
                <a:ln>
                  <a:noFill/>
                </a:ln>
                <a:solidFill>
                  <a:srgbClr val="5F5F5F"/>
                </a:solidFill>
                <a:effectLst/>
                <a:uLnTx/>
                <a:uFillTx/>
                <a:latin typeface="+mn-lt"/>
                <a:ea typeface="+mn-ea"/>
                <a:cs typeface="+mn-cs"/>
              </a:rPr>
              <a:t>ganancias</a:t>
            </a:r>
            <a:r>
              <a:rPr kumimoji="0" lang="en-US" sz="3200" b="0" i="0" u="none" strike="noStrike" kern="1200" cap="none" spc="0" normalizeH="0" baseline="0" noProof="0" dirty="0">
                <a:ln>
                  <a:noFill/>
                </a:ln>
                <a:solidFill>
                  <a:srgbClr val="5F5F5F"/>
                </a:solidFill>
                <a:effectLst/>
                <a:uLnTx/>
                <a:uFillTx/>
                <a:latin typeface="+mn-lt"/>
                <a:ea typeface="+mn-ea"/>
                <a:cs typeface="+mn-cs"/>
              </a:rPr>
              <a:t>, el </a:t>
            </a:r>
            <a:r>
              <a:rPr kumimoji="0" lang="en-US" sz="3200" b="0" i="0" u="none" strike="noStrike" kern="1200" cap="none" spc="0" normalizeH="0" baseline="0" noProof="0" dirty="0" err="1">
                <a:ln>
                  <a:noFill/>
                </a:ln>
                <a:solidFill>
                  <a:srgbClr val="5F5F5F"/>
                </a:solidFill>
                <a:effectLst/>
                <a:uLnTx/>
                <a:uFillTx/>
                <a:latin typeface="+mn-lt"/>
                <a:ea typeface="+mn-ea"/>
                <a:cs typeface="+mn-cs"/>
              </a:rPr>
              <a:t>número</a:t>
            </a:r>
            <a:r>
              <a:rPr kumimoji="0" lang="en-US" sz="3200" b="0" i="0" u="none" strike="noStrike" kern="1200" cap="none" spc="0" normalizeH="0" baseline="0" noProof="0" dirty="0">
                <a:ln>
                  <a:noFill/>
                </a:ln>
                <a:solidFill>
                  <a:srgbClr val="5F5F5F"/>
                </a:solidFill>
                <a:effectLst/>
                <a:uLnTx/>
                <a:uFillTx/>
                <a:latin typeface="+mn-lt"/>
                <a:ea typeface="+mn-ea"/>
                <a:cs typeface="+mn-cs"/>
              </a:rPr>
              <a:t> de </a:t>
            </a:r>
            <a:r>
              <a:rPr kumimoji="0" lang="en-US" sz="3200" b="0" i="0" u="none" strike="noStrike" kern="1200" cap="none" spc="0" normalizeH="0" baseline="0" noProof="0" dirty="0" err="1">
                <a:ln>
                  <a:noFill/>
                </a:ln>
                <a:solidFill>
                  <a:srgbClr val="5F5F5F"/>
                </a:solidFill>
                <a:effectLst/>
                <a:uLnTx/>
                <a:uFillTx/>
                <a:latin typeface="+mn-lt"/>
                <a:ea typeface="+mn-ea"/>
                <a:cs typeface="+mn-cs"/>
              </a:rPr>
              <a:t>empleados</a:t>
            </a:r>
            <a:r>
              <a:rPr kumimoji="0" lang="en-US" sz="3200" b="0" i="0" u="none" strike="noStrike" kern="1200" cap="none" spc="0" normalizeH="0" baseline="0" noProof="0" dirty="0">
                <a:ln>
                  <a:noFill/>
                </a:ln>
                <a:solidFill>
                  <a:srgbClr val="5F5F5F"/>
                </a:solidFill>
                <a:effectLst/>
                <a:uLnTx/>
                <a:uFillTx/>
                <a:latin typeface="+mn-lt"/>
                <a:ea typeface="+mn-ea"/>
                <a:cs typeface="+mn-cs"/>
              </a:rPr>
              <a:t>, la </a:t>
            </a:r>
            <a:r>
              <a:rPr kumimoji="0" lang="en-US" sz="3200" b="0" i="0" u="none" strike="noStrike" kern="1200" cap="none" spc="0" normalizeH="0" baseline="0" noProof="0" dirty="0" err="1">
                <a:ln>
                  <a:noFill/>
                </a:ln>
                <a:solidFill>
                  <a:srgbClr val="5F5F5F"/>
                </a:solidFill>
                <a:effectLst/>
                <a:uLnTx/>
                <a:uFillTx/>
                <a:latin typeface="+mn-lt"/>
                <a:ea typeface="+mn-ea"/>
                <a:cs typeface="+mn-cs"/>
              </a:rPr>
              <a:t>industria</a:t>
            </a:r>
            <a:r>
              <a:rPr kumimoji="0" lang="en-US" sz="3200" b="0" i="0" u="none" strike="noStrike" kern="1200" cap="none" spc="0" normalizeH="0" baseline="0" noProof="0" dirty="0">
                <a:ln>
                  <a:noFill/>
                </a:ln>
                <a:solidFill>
                  <a:srgbClr val="5F5F5F"/>
                </a:solidFill>
                <a:effectLst/>
                <a:uLnTx/>
                <a:uFillTx/>
                <a:latin typeface="+mn-lt"/>
                <a:ea typeface="+mn-ea"/>
                <a:cs typeface="+mn-cs"/>
              </a:rPr>
              <a:t> y el </a:t>
            </a:r>
            <a:r>
              <a:rPr kumimoji="0" lang="en-US" sz="3200" b="0" i="0" u="none" strike="noStrike" kern="1200" cap="none" spc="0" normalizeH="0" baseline="0" noProof="0" dirty="0" err="1">
                <a:ln>
                  <a:noFill/>
                </a:ln>
                <a:solidFill>
                  <a:srgbClr val="5F5F5F"/>
                </a:solidFill>
                <a:effectLst/>
                <a:uLnTx/>
                <a:uFillTx/>
                <a:latin typeface="+mn-lt"/>
                <a:ea typeface="+mn-ea"/>
                <a:cs typeface="+mn-cs"/>
              </a:rPr>
              <a:t>salario</a:t>
            </a:r>
            <a:r>
              <a:rPr kumimoji="0" lang="en-US" sz="3200" b="0" i="0" u="none" strike="noStrike" kern="1200" cap="none" spc="0" normalizeH="0" baseline="0" noProof="0" dirty="0">
                <a:ln>
                  <a:noFill/>
                </a:ln>
                <a:solidFill>
                  <a:srgbClr val="5F5F5F"/>
                </a:solidFill>
                <a:effectLst/>
                <a:uLnTx/>
                <a:uFillTx/>
                <a:latin typeface="+mn-lt"/>
                <a:ea typeface="+mn-ea"/>
                <a:cs typeface="+mn-cs"/>
              </a:rPr>
              <a:t> del </a:t>
            </a:r>
            <a:r>
              <a:rPr kumimoji="0" lang="en-US" sz="3200" b="0" i="0" u="none" strike="noStrike" kern="1200" cap="none" spc="0" normalizeH="0" baseline="0" noProof="0" dirty="0" err="1">
                <a:ln>
                  <a:noFill/>
                </a:ln>
                <a:solidFill>
                  <a:srgbClr val="5F5F5F"/>
                </a:solidFill>
                <a:effectLst/>
                <a:uLnTx/>
                <a:uFillTx/>
                <a:latin typeface="+mn-lt"/>
                <a:ea typeface="+mn-ea"/>
                <a:cs typeface="+mn-cs"/>
              </a:rPr>
              <a:t>gerente</a:t>
            </a:r>
            <a:r>
              <a:rPr kumimoji="0" lang="en-US" sz="3200" b="0" i="0" u="none" strike="noStrike" kern="1200" cap="none" spc="0" normalizeH="0" baseline="0" noProof="0" dirty="0">
                <a:ln>
                  <a:noFill/>
                </a:ln>
                <a:solidFill>
                  <a:srgbClr val="5F5F5F"/>
                </a:solidFill>
                <a:effectLst/>
                <a:uLnTx/>
                <a:uFillTx/>
                <a:latin typeface="+mn-lt"/>
                <a:ea typeface="+mn-ea"/>
                <a:cs typeface="+mn-cs"/>
              </a:rPr>
              <a:t>. Se </a:t>
            </a:r>
            <a:r>
              <a:rPr kumimoji="0" lang="en-US" sz="3200" b="0" i="0" u="none" strike="noStrike" kern="1200" cap="none" spc="0" normalizeH="0" baseline="0" noProof="0" dirty="0" err="1">
                <a:ln>
                  <a:noFill/>
                </a:ln>
                <a:solidFill>
                  <a:srgbClr val="5F5F5F"/>
                </a:solidFill>
                <a:effectLst/>
                <a:uLnTx/>
                <a:uFillTx/>
                <a:latin typeface="+mn-lt"/>
                <a:ea typeface="+mn-ea"/>
                <a:cs typeface="+mn-cs"/>
              </a:rPr>
              <a:t>requiere</a:t>
            </a:r>
            <a:r>
              <a:rPr kumimoji="0" lang="en-US" sz="3200" b="0" i="0" u="none" strike="noStrike" kern="1200" cap="none" spc="0" normalizeH="0" baseline="0" noProof="0" dirty="0">
                <a:ln>
                  <a:noFill/>
                </a:ln>
                <a:solidFill>
                  <a:srgbClr val="5F5F5F"/>
                </a:solidFill>
                <a:effectLst/>
                <a:uLnTx/>
                <a:uFillTx/>
                <a:latin typeface="+mn-lt"/>
                <a:ea typeface="+mn-ea"/>
                <a:cs typeface="+mn-cs"/>
              </a:rPr>
              <a:t> </a:t>
            </a:r>
            <a:r>
              <a:rPr kumimoji="0" lang="en-US" sz="3200" b="0" i="0" u="none" strike="noStrike" kern="1200" cap="none" spc="0" normalizeH="0" baseline="0" noProof="0" dirty="0" err="1">
                <a:ln>
                  <a:noFill/>
                </a:ln>
                <a:solidFill>
                  <a:srgbClr val="5F5F5F"/>
                </a:solidFill>
                <a:effectLst/>
                <a:uLnTx/>
                <a:uFillTx/>
                <a:latin typeface="+mn-lt"/>
                <a:ea typeface="+mn-ea"/>
                <a:cs typeface="+mn-cs"/>
              </a:rPr>
              <a:t>conocer</a:t>
            </a:r>
            <a:r>
              <a:rPr kumimoji="0" lang="en-US" sz="3200" b="0" i="0" u="none" strike="noStrike" kern="1200" cap="none" spc="0" normalizeH="0" baseline="0" noProof="0" dirty="0">
                <a:ln>
                  <a:noFill/>
                </a:ln>
                <a:solidFill>
                  <a:srgbClr val="5F5F5F"/>
                </a:solidFill>
                <a:effectLst/>
                <a:uLnTx/>
                <a:uFillTx/>
                <a:latin typeface="+mn-lt"/>
                <a:ea typeface="+mn-ea"/>
                <a:cs typeface="+mn-cs"/>
              </a:rPr>
              <a:t> </a:t>
            </a:r>
            <a:r>
              <a:rPr kumimoji="0" lang="en-US" sz="3200" b="0" i="0" u="none" strike="noStrike" kern="1200" cap="none" spc="0" normalizeH="0" baseline="0" noProof="0" dirty="0" err="1">
                <a:ln>
                  <a:noFill/>
                </a:ln>
                <a:solidFill>
                  <a:srgbClr val="5F5F5F"/>
                </a:solidFill>
                <a:effectLst/>
                <a:uLnTx/>
                <a:uFillTx/>
                <a:latin typeface="+mn-lt"/>
                <a:ea typeface="+mn-ea"/>
                <a:cs typeface="+mn-cs"/>
              </a:rPr>
              <a:t>cuáles</a:t>
            </a:r>
            <a:r>
              <a:rPr kumimoji="0" lang="en-US" sz="3200" b="0" i="0" u="none" strike="noStrike" kern="1200" cap="none" spc="0" normalizeH="0" baseline="0" noProof="0" dirty="0">
                <a:ln>
                  <a:noFill/>
                </a:ln>
                <a:solidFill>
                  <a:srgbClr val="5F5F5F"/>
                </a:solidFill>
                <a:effectLst/>
                <a:uLnTx/>
                <a:uFillTx/>
                <a:latin typeface="+mn-lt"/>
                <a:ea typeface="+mn-ea"/>
                <a:cs typeface="+mn-cs"/>
              </a:rPr>
              <a:t> </a:t>
            </a:r>
            <a:r>
              <a:rPr kumimoji="0" lang="en-US" sz="3200" b="0" i="0" u="none" strike="noStrike" kern="1200" cap="none" spc="0" normalizeH="0" baseline="0" noProof="0" dirty="0" err="1">
                <a:ln>
                  <a:noFill/>
                </a:ln>
                <a:solidFill>
                  <a:srgbClr val="5F5F5F"/>
                </a:solidFill>
                <a:effectLst/>
                <a:uLnTx/>
                <a:uFillTx/>
                <a:latin typeface="+mn-lt"/>
                <a:ea typeface="+mn-ea"/>
                <a:cs typeface="+mn-cs"/>
              </a:rPr>
              <a:t>factores</a:t>
            </a:r>
            <a:r>
              <a:rPr kumimoji="0" lang="en-US" sz="3200" b="0" i="0" u="none" strike="noStrike" kern="1200" cap="none" spc="0" normalizeH="0" baseline="0" noProof="0" dirty="0">
                <a:ln>
                  <a:noFill/>
                </a:ln>
                <a:solidFill>
                  <a:srgbClr val="5F5F5F"/>
                </a:solidFill>
                <a:effectLst/>
                <a:uLnTx/>
                <a:uFillTx/>
                <a:latin typeface="+mn-lt"/>
                <a:ea typeface="+mn-ea"/>
                <a:cs typeface="+mn-cs"/>
              </a:rPr>
              <a:t> </a:t>
            </a:r>
            <a:r>
              <a:rPr kumimoji="0" lang="en-US" sz="3200" b="0" i="0" u="none" strike="noStrike" kern="1200" cap="none" spc="0" normalizeH="0" baseline="0" noProof="0" dirty="0" err="1">
                <a:ln>
                  <a:noFill/>
                </a:ln>
                <a:solidFill>
                  <a:srgbClr val="5F5F5F"/>
                </a:solidFill>
                <a:effectLst/>
                <a:uLnTx/>
                <a:uFillTx/>
                <a:latin typeface="+mn-lt"/>
                <a:ea typeface="+mn-ea"/>
                <a:cs typeface="+mn-cs"/>
              </a:rPr>
              <a:t>afectan</a:t>
            </a:r>
            <a:r>
              <a:rPr kumimoji="0" lang="en-US" sz="3200" b="0" i="0" u="none" strike="noStrike" kern="1200" cap="none" spc="0" normalizeH="0" baseline="0" noProof="0" dirty="0">
                <a:ln>
                  <a:noFill/>
                </a:ln>
                <a:solidFill>
                  <a:srgbClr val="5F5F5F"/>
                </a:solidFill>
                <a:effectLst/>
                <a:uLnTx/>
                <a:uFillTx/>
                <a:latin typeface="+mn-lt"/>
                <a:ea typeface="+mn-ea"/>
                <a:cs typeface="+mn-cs"/>
              </a:rPr>
              <a:t> el </a:t>
            </a:r>
            <a:r>
              <a:rPr kumimoji="0" lang="en-US" sz="3200" b="0" i="0" u="none" strike="noStrike" kern="1200" cap="none" spc="0" normalizeH="0" baseline="0" noProof="0" dirty="0" err="1">
                <a:ln>
                  <a:noFill/>
                </a:ln>
                <a:solidFill>
                  <a:srgbClr val="5F5F5F"/>
                </a:solidFill>
                <a:effectLst/>
                <a:uLnTx/>
                <a:uFillTx/>
                <a:latin typeface="+mn-lt"/>
                <a:ea typeface="+mn-ea"/>
                <a:cs typeface="+mn-cs"/>
              </a:rPr>
              <a:t>salario</a:t>
            </a:r>
            <a:r>
              <a:rPr kumimoji="0" lang="en-US" sz="3200" b="0" i="0" u="none" strike="noStrike" kern="1200" cap="none" spc="0" normalizeH="0" baseline="0" noProof="0" dirty="0">
                <a:ln>
                  <a:noFill/>
                </a:ln>
                <a:solidFill>
                  <a:srgbClr val="5F5F5F"/>
                </a:solidFill>
                <a:effectLst/>
                <a:uLnTx/>
                <a:uFillTx/>
                <a:latin typeface="+mn-lt"/>
                <a:ea typeface="+mn-ea"/>
                <a:cs typeface="+mn-cs"/>
              </a:rPr>
              <a:t> del </a:t>
            </a:r>
            <a:r>
              <a:rPr kumimoji="0" lang="en-US" sz="3200" b="0" i="0" u="none" strike="noStrike" kern="1200" cap="none" spc="0" normalizeH="0" baseline="0" noProof="0" dirty="0" err="1">
                <a:ln>
                  <a:noFill/>
                </a:ln>
                <a:solidFill>
                  <a:srgbClr val="5F5F5F"/>
                </a:solidFill>
                <a:effectLst/>
                <a:uLnTx/>
                <a:uFillTx/>
                <a:latin typeface="+mn-lt"/>
                <a:ea typeface="+mn-ea"/>
                <a:cs typeface="+mn-cs"/>
              </a:rPr>
              <a:t>gerente</a:t>
            </a:r>
            <a:r>
              <a:rPr kumimoji="0" lang="en-US" sz="3200" b="0" i="0" u="none" strike="noStrike" kern="1200" cap="none" spc="0" normalizeH="0" baseline="0" noProof="0" dirty="0">
                <a:ln>
                  <a:noFill/>
                </a:ln>
                <a:solidFill>
                  <a:srgbClr val="5F5F5F"/>
                </a:solidFill>
                <a:effectLst/>
                <a:uLnTx/>
                <a:uFillTx/>
                <a:latin typeface="+mn-lt"/>
                <a:ea typeface="+mn-ea"/>
                <a:cs typeface="+mn-cs"/>
              </a:rPr>
              <a:t> y en </a:t>
            </a:r>
            <a:r>
              <a:rPr kumimoji="0" lang="en-US" sz="3200" b="0" i="0" u="none" strike="noStrike" kern="1200" cap="none" spc="0" normalizeH="0" baseline="0" noProof="0" dirty="0" err="1">
                <a:ln>
                  <a:noFill/>
                </a:ln>
                <a:solidFill>
                  <a:srgbClr val="5F5F5F"/>
                </a:solidFill>
                <a:effectLst/>
                <a:uLnTx/>
                <a:uFillTx/>
                <a:latin typeface="+mn-lt"/>
                <a:ea typeface="+mn-ea"/>
                <a:cs typeface="+mn-cs"/>
              </a:rPr>
              <a:t>qué</a:t>
            </a:r>
            <a:r>
              <a:rPr kumimoji="0" lang="en-US" sz="3200" b="0" i="0" u="none" strike="noStrike" kern="1200" cap="none" spc="0" normalizeH="0" baseline="0" noProof="0" dirty="0">
                <a:ln>
                  <a:noFill/>
                </a:ln>
                <a:solidFill>
                  <a:srgbClr val="5F5F5F"/>
                </a:solidFill>
                <a:effectLst/>
                <a:uLnTx/>
                <a:uFillTx/>
                <a:latin typeface="+mn-lt"/>
                <a:ea typeface="+mn-ea"/>
                <a:cs typeface="+mn-cs"/>
              </a:rPr>
              <a:t> </a:t>
            </a:r>
            <a:r>
              <a:rPr kumimoji="0" lang="en-US" sz="3200" b="0" i="0" u="none" strike="noStrike" kern="1200" cap="none" spc="0" normalizeH="0" baseline="0" noProof="0" dirty="0" err="1">
                <a:ln>
                  <a:noFill/>
                </a:ln>
                <a:solidFill>
                  <a:srgbClr val="5F5F5F"/>
                </a:solidFill>
                <a:effectLst/>
                <a:uLnTx/>
                <a:uFillTx/>
                <a:latin typeface="+mn-lt"/>
                <a:ea typeface="+mn-ea"/>
                <a:cs typeface="+mn-cs"/>
              </a:rPr>
              <a:t>medida</a:t>
            </a:r>
            <a:r>
              <a:rPr kumimoji="0" lang="en-US" sz="3200" b="0" i="0" u="none" strike="noStrike" kern="1200" cap="none" spc="0" normalizeH="0" baseline="0" noProof="0" dirty="0">
                <a:ln>
                  <a:noFill/>
                </a:ln>
                <a:solidFill>
                  <a:srgbClr val="5F5F5F"/>
                </a:solidFill>
                <a:effectLst/>
                <a:uLnTx/>
                <a:uFillTx/>
                <a:latin typeface="+mn-lt"/>
                <a:ea typeface="+mn-ea"/>
                <a:cs typeface="+mn-cs"/>
              </a:rPr>
              <a:t>.</a:t>
            </a:r>
            <a:endParaRPr kumimoji="0" lang="x-none" sz="3200" b="0" i="0" u="none" strike="noStrike" kern="1200" cap="none" spc="0" normalizeH="0" baseline="0" noProof="0" dirty="0">
              <a:ln>
                <a:noFill/>
              </a:ln>
              <a:solidFill>
                <a:srgbClr val="5F5F5F"/>
              </a:solidFill>
              <a:effectLst/>
              <a:uLnTx/>
              <a:uFillTx/>
              <a:latin typeface="+mj-lt"/>
              <a:ea typeface="+mn-ea"/>
              <a:cs typeface="+mn-cs"/>
            </a:endParaRPr>
          </a:p>
        </p:txBody>
      </p:sp>
      <p:pic>
        <p:nvPicPr>
          <p:cNvPr id="10" name="Picture 11">
            <a:extLst>
              <a:ext uri="{FF2B5EF4-FFF2-40B4-BE49-F238E27FC236}">
                <a16:creationId xmlns:a16="http://schemas.microsoft.com/office/drawing/2014/main" id="{1A8075E3-98E3-4C17-BF81-47B30F00499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0724" y="3556641"/>
            <a:ext cx="7082725" cy="2685628"/>
          </a:xfrm>
          <a:prstGeom prst="rect">
            <a:avLst/>
          </a:prstGeom>
          <a:effectLst>
            <a:outerShdw blurRad="355600" dist="38100" dir="2700000" algn="tl" rotWithShape="0">
              <a:prstClr val="black">
                <a:alpha val="28000"/>
              </a:prstClr>
            </a:outerShdw>
          </a:effectLst>
        </p:spPr>
      </p:pic>
      <p:sp>
        <p:nvSpPr>
          <p:cNvPr id="11" name="CuadroTexto 10">
            <a:extLst>
              <a:ext uri="{FF2B5EF4-FFF2-40B4-BE49-F238E27FC236}">
                <a16:creationId xmlns:a16="http://schemas.microsoft.com/office/drawing/2014/main" id="{8BBEBED1-02D1-41F5-9A24-56864BBD0076}"/>
              </a:ext>
            </a:extLst>
          </p:cNvPr>
          <p:cNvSpPr txBox="1"/>
          <p:nvPr/>
        </p:nvSpPr>
        <p:spPr>
          <a:xfrm>
            <a:off x="2659530" y="4116287"/>
            <a:ext cx="6785112" cy="707886"/>
          </a:xfrm>
          <a:prstGeom prst="rect">
            <a:avLst/>
          </a:prstGeom>
        </p:spPr>
        <p:txBody>
          <a:bodyPr wrap="square" rtlCol="0">
            <a:sp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s-ES" sz="4000" b="1" i="0" u="none" strike="noStrike" kern="0" cap="none" spc="0" normalizeH="0" baseline="0" noProof="0" dirty="0">
                <a:ln>
                  <a:noFill/>
                </a:ln>
                <a:solidFill>
                  <a:srgbClr val="007934"/>
                </a:solidFill>
                <a:effectLst/>
                <a:uLnTx/>
                <a:uFillTx/>
                <a:latin typeface="Trebuchet MS" pitchFamily="34" charset="0"/>
                <a:ea typeface="+mj-ea"/>
                <a:cs typeface="+mj-cs"/>
              </a:rPr>
              <a:t>Supervisado</a:t>
            </a:r>
            <a:endParaRPr kumimoji="0" lang="x-none" sz="4000" b="1" i="0" u="none" strike="noStrike" kern="0" cap="none" spc="0" normalizeH="0" baseline="0" noProof="0" dirty="0">
              <a:ln>
                <a:noFill/>
              </a:ln>
              <a:solidFill>
                <a:srgbClr val="007934"/>
              </a:solidFill>
              <a:effectLst/>
              <a:uLnTx/>
              <a:uFillTx/>
              <a:latin typeface="Trebuchet MS" pitchFamily="34" charset="0"/>
              <a:ea typeface="+mj-ea"/>
              <a:cs typeface="+mj-cs"/>
            </a:endParaRPr>
          </a:p>
        </p:txBody>
      </p:sp>
      <p:sp>
        <p:nvSpPr>
          <p:cNvPr id="12" name="CuadroTexto 11">
            <a:extLst>
              <a:ext uri="{FF2B5EF4-FFF2-40B4-BE49-F238E27FC236}">
                <a16:creationId xmlns:a16="http://schemas.microsoft.com/office/drawing/2014/main" id="{91DBAE6A-6AAA-4014-B470-EA61FA4F4C8A}"/>
              </a:ext>
            </a:extLst>
          </p:cNvPr>
          <p:cNvSpPr txBox="1"/>
          <p:nvPr/>
        </p:nvSpPr>
        <p:spPr>
          <a:xfrm>
            <a:off x="2659530" y="4957071"/>
            <a:ext cx="6785112" cy="707886"/>
          </a:xfrm>
          <a:prstGeom prst="rect">
            <a:avLst/>
          </a:prstGeom>
        </p:spPr>
        <p:txBody>
          <a:bodyPr wrap="square" rtlCol="0">
            <a:sp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s-ES" sz="4000" b="1" i="0" u="none" strike="noStrike" kern="0" cap="none" spc="0" normalizeH="0" baseline="0" noProof="0" dirty="0">
                <a:ln>
                  <a:noFill/>
                </a:ln>
                <a:solidFill>
                  <a:srgbClr val="007934"/>
                </a:solidFill>
                <a:effectLst/>
                <a:uLnTx/>
                <a:uFillTx/>
                <a:latin typeface="Trebuchet MS" pitchFamily="34" charset="0"/>
                <a:ea typeface="+mj-ea"/>
                <a:cs typeface="+mj-cs"/>
              </a:rPr>
              <a:t>Regresión</a:t>
            </a:r>
            <a:endParaRPr kumimoji="0" lang="x-none" sz="4000" b="1" i="0" u="none" strike="noStrike" kern="0" cap="none" spc="0" normalizeH="0" baseline="0" noProof="0" dirty="0">
              <a:ln>
                <a:noFill/>
              </a:ln>
              <a:solidFill>
                <a:srgbClr val="007934"/>
              </a:solidFill>
              <a:effectLst/>
              <a:uLnTx/>
              <a:uFillTx/>
              <a:latin typeface="Trebuchet MS" pitchFamily="34" charset="0"/>
              <a:ea typeface="+mj-ea"/>
              <a:cs typeface="+mj-cs"/>
            </a:endParaRPr>
          </a:p>
        </p:txBody>
      </p:sp>
    </p:spTree>
    <p:extLst>
      <p:ext uri="{BB962C8B-B14F-4D97-AF65-F5344CB8AC3E}">
        <p14:creationId xmlns:p14="http://schemas.microsoft.com/office/powerpoint/2010/main" val="14674794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ítulo 1"/>
          <p:cNvSpPr txBox="1">
            <a:spLocks/>
          </p:cNvSpPr>
          <p:nvPr/>
        </p:nvSpPr>
        <p:spPr>
          <a:xfrm>
            <a:off x="554638" y="878753"/>
            <a:ext cx="10732957" cy="166632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R="0" lvl="0" algn="just" defTabSz="914400" rtl="0" eaLnBrk="1" fontAlgn="auto" latinLnBrk="0" hangingPunct="1">
              <a:lnSpc>
                <a:spcPct val="90000"/>
              </a:lnSpc>
              <a:spcBef>
                <a:spcPct val="0"/>
              </a:spcBef>
              <a:spcAft>
                <a:spcPts val="0"/>
              </a:spcAft>
              <a:buClrTx/>
              <a:buSzTx/>
              <a:tabLst/>
              <a:defRPr/>
            </a:pPr>
            <a:r>
              <a:rPr lang="en-US" sz="3200" dirty="0">
                <a:solidFill>
                  <a:srgbClr val="5F5F5F"/>
                </a:solidFill>
                <a:latin typeface="+mn-lt"/>
                <a:ea typeface="+mn-ea"/>
                <a:cs typeface="+mn-cs"/>
              </a:rPr>
              <a:t>Una </a:t>
            </a:r>
            <a:r>
              <a:rPr lang="en-US" sz="3200" dirty="0" err="1">
                <a:solidFill>
                  <a:srgbClr val="5F5F5F"/>
                </a:solidFill>
                <a:latin typeface="+mn-lt"/>
                <a:ea typeface="+mn-ea"/>
                <a:cs typeface="+mn-cs"/>
              </a:rPr>
              <a:t>empresa</a:t>
            </a:r>
            <a:r>
              <a:rPr lang="en-US" sz="3200" dirty="0">
                <a:solidFill>
                  <a:srgbClr val="5F5F5F"/>
                </a:solidFill>
                <a:latin typeface="+mn-lt"/>
                <a:ea typeface="+mn-ea"/>
                <a:cs typeface="+mn-cs"/>
              </a:rPr>
              <a:t> de </a:t>
            </a:r>
            <a:r>
              <a:rPr lang="en-US" sz="3200" dirty="0" err="1">
                <a:solidFill>
                  <a:srgbClr val="5F5F5F"/>
                </a:solidFill>
                <a:latin typeface="+mn-lt"/>
                <a:ea typeface="+mn-ea"/>
                <a:cs typeface="+mn-cs"/>
              </a:rPr>
              <a:t>telecomunicaciones</a:t>
            </a:r>
            <a:r>
              <a:rPr lang="en-US" sz="3200" dirty="0">
                <a:solidFill>
                  <a:srgbClr val="5F5F5F"/>
                </a:solidFill>
                <a:latin typeface="+mn-lt"/>
                <a:ea typeface="+mn-ea"/>
                <a:cs typeface="+mn-cs"/>
              </a:rPr>
              <a:t> </a:t>
            </a:r>
            <a:r>
              <a:rPr lang="en-US" sz="3200" dirty="0" err="1">
                <a:solidFill>
                  <a:srgbClr val="5F5F5F"/>
                </a:solidFill>
                <a:latin typeface="+mn-lt"/>
                <a:ea typeface="+mn-ea"/>
                <a:cs typeface="+mn-cs"/>
              </a:rPr>
              <a:t>desea</a:t>
            </a:r>
            <a:r>
              <a:rPr lang="en-US" sz="3200" dirty="0">
                <a:solidFill>
                  <a:srgbClr val="5F5F5F"/>
                </a:solidFill>
                <a:latin typeface="+mn-lt"/>
                <a:ea typeface="+mn-ea"/>
                <a:cs typeface="+mn-cs"/>
              </a:rPr>
              <a:t> </a:t>
            </a:r>
            <a:r>
              <a:rPr lang="en-US" sz="3200" dirty="0" err="1">
                <a:solidFill>
                  <a:srgbClr val="5F5F5F"/>
                </a:solidFill>
                <a:latin typeface="+mn-lt"/>
                <a:ea typeface="+mn-ea"/>
                <a:cs typeface="+mn-cs"/>
              </a:rPr>
              <a:t>segmentar</a:t>
            </a:r>
            <a:r>
              <a:rPr lang="en-US" sz="3200" dirty="0">
                <a:solidFill>
                  <a:srgbClr val="5F5F5F"/>
                </a:solidFill>
                <a:latin typeface="+mn-lt"/>
                <a:ea typeface="+mn-ea"/>
                <a:cs typeface="+mn-cs"/>
              </a:rPr>
              <a:t> </a:t>
            </a:r>
            <a:r>
              <a:rPr lang="en-US" sz="3200" dirty="0" err="1">
                <a:solidFill>
                  <a:srgbClr val="5F5F5F"/>
                </a:solidFill>
                <a:latin typeface="+mn-lt"/>
                <a:ea typeface="+mn-ea"/>
                <a:cs typeface="+mn-cs"/>
              </a:rPr>
              <a:t>sus</a:t>
            </a:r>
            <a:r>
              <a:rPr lang="en-US" sz="3200" dirty="0">
                <a:solidFill>
                  <a:srgbClr val="5F5F5F"/>
                </a:solidFill>
                <a:latin typeface="+mn-lt"/>
                <a:ea typeface="+mn-ea"/>
                <a:cs typeface="+mn-cs"/>
              </a:rPr>
              <a:t> </a:t>
            </a:r>
            <a:r>
              <a:rPr lang="en-US" sz="3200" dirty="0" err="1">
                <a:solidFill>
                  <a:srgbClr val="5F5F5F"/>
                </a:solidFill>
                <a:latin typeface="+mn-lt"/>
                <a:ea typeface="+mn-ea"/>
                <a:cs typeface="+mn-cs"/>
              </a:rPr>
              <a:t>clientes</a:t>
            </a:r>
            <a:r>
              <a:rPr kumimoji="0" lang="en-US" sz="3200" b="0" i="0" u="none" strike="noStrike" kern="1200" cap="none" spc="0" normalizeH="0" baseline="0" noProof="0" dirty="0">
                <a:ln>
                  <a:noFill/>
                </a:ln>
                <a:solidFill>
                  <a:srgbClr val="5F5F5F"/>
                </a:solidFill>
                <a:effectLst/>
                <a:uLnTx/>
                <a:uFillTx/>
                <a:latin typeface="+mn-lt"/>
                <a:ea typeface="+mn-ea"/>
                <a:cs typeface="+mn-cs"/>
              </a:rPr>
              <a:t>. Se </a:t>
            </a:r>
            <a:r>
              <a:rPr kumimoji="0" lang="en-US" sz="3200" b="0" i="0" u="none" strike="noStrike" kern="1200" cap="none" spc="0" normalizeH="0" baseline="0" noProof="0" dirty="0" err="1">
                <a:ln>
                  <a:noFill/>
                </a:ln>
                <a:solidFill>
                  <a:srgbClr val="5F5F5F"/>
                </a:solidFill>
                <a:effectLst/>
                <a:uLnTx/>
                <a:uFillTx/>
                <a:latin typeface="+mn-lt"/>
                <a:ea typeface="+mn-ea"/>
                <a:cs typeface="+mn-cs"/>
              </a:rPr>
              <a:t>cuenta</a:t>
            </a:r>
            <a:r>
              <a:rPr kumimoji="0" lang="en-US" sz="3200" b="0" i="0" u="none" strike="noStrike" kern="1200" cap="none" spc="0" normalizeH="0" baseline="0" noProof="0" dirty="0">
                <a:ln>
                  <a:noFill/>
                </a:ln>
                <a:solidFill>
                  <a:srgbClr val="5F5F5F"/>
                </a:solidFill>
                <a:effectLst/>
                <a:uLnTx/>
                <a:uFillTx/>
                <a:latin typeface="+mn-lt"/>
                <a:ea typeface="+mn-ea"/>
                <a:cs typeface="+mn-cs"/>
              </a:rPr>
              <a:t> con </a:t>
            </a:r>
            <a:r>
              <a:rPr kumimoji="0" lang="en-US" sz="3200" b="0" i="0" u="none" strike="noStrike" kern="1200" cap="none" spc="0" normalizeH="0" baseline="0" noProof="0" dirty="0" err="1">
                <a:ln>
                  <a:noFill/>
                </a:ln>
                <a:solidFill>
                  <a:srgbClr val="5F5F5F"/>
                </a:solidFill>
                <a:effectLst/>
                <a:uLnTx/>
                <a:uFillTx/>
                <a:latin typeface="+mn-lt"/>
                <a:ea typeface="+mn-ea"/>
                <a:cs typeface="+mn-cs"/>
              </a:rPr>
              <a:t>información</a:t>
            </a:r>
            <a:r>
              <a:rPr kumimoji="0" lang="en-US" sz="3200" b="0" i="0" u="none" strike="noStrike" kern="1200" cap="none" spc="0" normalizeH="0" baseline="0" noProof="0" dirty="0">
                <a:ln>
                  <a:noFill/>
                </a:ln>
                <a:solidFill>
                  <a:srgbClr val="5F5F5F"/>
                </a:solidFill>
                <a:effectLst/>
                <a:uLnTx/>
                <a:uFillTx/>
                <a:latin typeface="+mn-lt"/>
                <a:ea typeface="+mn-ea"/>
                <a:cs typeface="+mn-cs"/>
              </a:rPr>
              <a:t> </a:t>
            </a:r>
            <a:r>
              <a:rPr kumimoji="0" lang="en-US" sz="3200" b="0" i="0" u="none" strike="noStrike" kern="1200" cap="none" spc="0" normalizeH="0" baseline="0" noProof="0" dirty="0" err="1">
                <a:ln>
                  <a:noFill/>
                </a:ln>
                <a:solidFill>
                  <a:srgbClr val="5F5F5F"/>
                </a:solidFill>
                <a:effectLst/>
                <a:uLnTx/>
                <a:uFillTx/>
                <a:latin typeface="+mn-lt"/>
                <a:ea typeface="+mn-ea"/>
                <a:cs typeface="+mn-cs"/>
              </a:rPr>
              <a:t>histórica</a:t>
            </a:r>
            <a:r>
              <a:rPr kumimoji="0" lang="en-US" sz="3200" b="0" i="0" u="none" strike="noStrike" kern="1200" cap="none" spc="0" normalizeH="0" baseline="0" noProof="0" dirty="0">
                <a:ln>
                  <a:noFill/>
                </a:ln>
                <a:solidFill>
                  <a:srgbClr val="5F5F5F"/>
                </a:solidFill>
                <a:effectLst/>
                <a:uLnTx/>
                <a:uFillTx/>
                <a:latin typeface="+mn-lt"/>
                <a:ea typeface="+mn-ea"/>
                <a:cs typeface="+mn-cs"/>
              </a:rPr>
              <a:t> de </a:t>
            </a:r>
            <a:r>
              <a:rPr kumimoji="0" lang="en-US" sz="3200" b="0" i="0" u="none" strike="noStrike" kern="1200" cap="none" spc="0" normalizeH="0" baseline="0" noProof="0" dirty="0" err="1">
                <a:ln>
                  <a:noFill/>
                </a:ln>
                <a:solidFill>
                  <a:srgbClr val="5F5F5F"/>
                </a:solidFill>
                <a:effectLst/>
                <a:uLnTx/>
                <a:uFillTx/>
                <a:latin typeface="+mn-lt"/>
                <a:ea typeface="+mn-ea"/>
                <a:cs typeface="+mn-cs"/>
              </a:rPr>
              <a:t>los</a:t>
            </a:r>
            <a:r>
              <a:rPr kumimoji="0" lang="en-US" sz="3200" b="0" i="0" u="none" strike="noStrike" kern="1200" cap="none" spc="0" normalizeH="0" baseline="0" noProof="0" dirty="0">
                <a:ln>
                  <a:noFill/>
                </a:ln>
                <a:solidFill>
                  <a:srgbClr val="5F5F5F"/>
                </a:solidFill>
                <a:effectLst/>
                <a:uLnTx/>
                <a:uFillTx/>
                <a:latin typeface="+mn-lt"/>
                <a:ea typeface="+mn-ea"/>
                <a:cs typeface="+mn-cs"/>
              </a:rPr>
              <a:t> </a:t>
            </a:r>
            <a:r>
              <a:rPr kumimoji="0" lang="en-US" sz="3200" b="0" i="0" u="none" strike="noStrike" kern="1200" cap="none" spc="0" normalizeH="0" baseline="0" noProof="0" dirty="0" err="1">
                <a:ln>
                  <a:noFill/>
                </a:ln>
                <a:solidFill>
                  <a:srgbClr val="5F5F5F"/>
                </a:solidFill>
                <a:effectLst/>
                <a:uLnTx/>
                <a:uFillTx/>
                <a:latin typeface="+mn-lt"/>
                <a:ea typeface="+mn-ea"/>
                <a:cs typeface="+mn-cs"/>
              </a:rPr>
              <a:t>sistemas</a:t>
            </a:r>
            <a:r>
              <a:rPr kumimoji="0" lang="en-US" sz="3200" b="0" i="0" u="none" strike="noStrike" kern="1200" cap="none" spc="0" normalizeH="0" baseline="0" noProof="0" dirty="0">
                <a:ln>
                  <a:noFill/>
                </a:ln>
                <a:solidFill>
                  <a:srgbClr val="5F5F5F"/>
                </a:solidFill>
                <a:effectLst/>
                <a:uLnTx/>
                <a:uFillTx/>
                <a:latin typeface="+mn-lt"/>
                <a:ea typeface="+mn-ea"/>
                <a:cs typeface="+mn-cs"/>
              </a:rPr>
              <a:t> de </a:t>
            </a:r>
            <a:r>
              <a:rPr kumimoji="0" lang="en-US" sz="3200" b="0" i="0" u="none" strike="noStrike" kern="1200" cap="none" spc="0" normalizeH="0" baseline="0" noProof="0" dirty="0" err="1">
                <a:ln>
                  <a:noFill/>
                </a:ln>
                <a:solidFill>
                  <a:srgbClr val="5F5F5F"/>
                </a:solidFill>
                <a:effectLst/>
                <a:uLnTx/>
                <a:uFillTx/>
                <a:latin typeface="+mn-lt"/>
                <a:ea typeface="+mn-ea"/>
                <a:cs typeface="+mn-cs"/>
              </a:rPr>
              <a:t>facturación</a:t>
            </a:r>
            <a:r>
              <a:rPr lang="en-US" sz="3200" dirty="0">
                <a:solidFill>
                  <a:srgbClr val="5F5F5F"/>
                </a:solidFill>
                <a:latin typeface="+mn-lt"/>
                <a:ea typeface="+mn-ea"/>
                <a:cs typeface="+mn-cs"/>
              </a:rPr>
              <a:t>, del CRM, etc. </a:t>
            </a:r>
            <a:endParaRPr kumimoji="0" lang="x-none" sz="3200" b="0" i="0" u="none" strike="noStrike" kern="1200" cap="none" spc="0" normalizeH="0" baseline="0" noProof="0" dirty="0">
              <a:ln>
                <a:noFill/>
              </a:ln>
              <a:solidFill>
                <a:srgbClr val="5F5F5F"/>
              </a:solidFill>
              <a:effectLst/>
              <a:uLnTx/>
              <a:uFillTx/>
              <a:latin typeface="+mj-lt"/>
              <a:ea typeface="+mn-ea"/>
              <a:cs typeface="+mn-cs"/>
            </a:endParaRPr>
          </a:p>
        </p:txBody>
      </p:sp>
      <p:pic>
        <p:nvPicPr>
          <p:cNvPr id="10" name="Picture 11">
            <a:extLst>
              <a:ext uri="{FF2B5EF4-FFF2-40B4-BE49-F238E27FC236}">
                <a16:creationId xmlns:a16="http://schemas.microsoft.com/office/drawing/2014/main" id="{1A8075E3-98E3-4C17-BF81-47B30F00499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0724" y="3556641"/>
            <a:ext cx="7082725" cy="2685628"/>
          </a:xfrm>
          <a:prstGeom prst="rect">
            <a:avLst/>
          </a:prstGeom>
          <a:effectLst>
            <a:outerShdw blurRad="355600" dist="38100" dir="2700000" algn="tl" rotWithShape="0">
              <a:prstClr val="black">
                <a:alpha val="28000"/>
              </a:prstClr>
            </a:outerShdw>
          </a:effectLst>
        </p:spPr>
      </p:pic>
      <p:sp>
        <p:nvSpPr>
          <p:cNvPr id="11" name="CuadroTexto 10">
            <a:extLst>
              <a:ext uri="{FF2B5EF4-FFF2-40B4-BE49-F238E27FC236}">
                <a16:creationId xmlns:a16="http://schemas.microsoft.com/office/drawing/2014/main" id="{8BBEBED1-02D1-41F5-9A24-56864BBD0076}"/>
              </a:ext>
            </a:extLst>
          </p:cNvPr>
          <p:cNvSpPr txBox="1"/>
          <p:nvPr/>
        </p:nvSpPr>
        <p:spPr>
          <a:xfrm>
            <a:off x="2659530" y="4116287"/>
            <a:ext cx="6785112" cy="707886"/>
          </a:xfrm>
          <a:prstGeom prst="rect">
            <a:avLst/>
          </a:prstGeom>
        </p:spPr>
        <p:txBody>
          <a:bodyPr wrap="square" rtlCol="0">
            <a:sp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s-ES" sz="4000" b="1" i="0" u="none" strike="noStrike" kern="0" cap="none" spc="0" normalizeH="0" baseline="0" noProof="0" dirty="0">
                <a:ln>
                  <a:noFill/>
                </a:ln>
                <a:solidFill>
                  <a:srgbClr val="007934"/>
                </a:solidFill>
                <a:effectLst/>
                <a:uLnTx/>
                <a:uFillTx/>
                <a:latin typeface="Trebuchet MS" pitchFamily="34" charset="0"/>
                <a:ea typeface="+mj-ea"/>
                <a:cs typeface="+mj-cs"/>
              </a:rPr>
              <a:t>No Supervisado</a:t>
            </a:r>
            <a:endParaRPr kumimoji="0" lang="x-none" sz="4000" b="1" i="0" u="none" strike="noStrike" kern="0" cap="none" spc="0" normalizeH="0" baseline="0" noProof="0" dirty="0">
              <a:ln>
                <a:noFill/>
              </a:ln>
              <a:solidFill>
                <a:srgbClr val="007934"/>
              </a:solidFill>
              <a:effectLst/>
              <a:uLnTx/>
              <a:uFillTx/>
              <a:latin typeface="Trebuchet MS" pitchFamily="34" charset="0"/>
              <a:ea typeface="+mj-ea"/>
              <a:cs typeface="+mj-cs"/>
            </a:endParaRPr>
          </a:p>
        </p:txBody>
      </p:sp>
      <p:sp>
        <p:nvSpPr>
          <p:cNvPr id="12" name="CuadroTexto 11">
            <a:extLst>
              <a:ext uri="{FF2B5EF4-FFF2-40B4-BE49-F238E27FC236}">
                <a16:creationId xmlns:a16="http://schemas.microsoft.com/office/drawing/2014/main" id="{91DBAE6A-6AAA-4014-B470-EA61FA4F4C8A}"/>
              </a:ext>
            </a:extLst>
          </p:cNvPr>
          <p:cNvSpPr txBox="1"/>
          <p:nvPr/>
        </p:nvSpPr>
        <p:spPr>
          <a:xfrm>
            <a:off x="2659530" y="4957071"/>
            <a:ext cx="6785112" cy="707886"/>
          </a:xfrm>
          <a:prstGeom prst="rect">
            <a:avLst/>
          </a:prstGeom>
        </p:spPr>
        <p:txBody>
          <a:bodyPr wrap="square" rtlCol="0">
            <a:sp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s-CO" sz="4000" b="1" i="0" u="none" strike="noStrike" kern="0" cap="none" spc="0" normalizeH="0" baseline="0" noProof="0" dirty="0" err="1">
                <a:ln>
                  <a:noFill/>
                </a:ln>
                <a:solidFill>
                  <a:srgbClr val="007934"/>
                </a:solidFill>
                <a:effectLst/>
                <a:uLnTx/>
                <a:uFillTx/>
                <a:latin typeface="Trebuchet MS" pitchFamily="34" charset="0"/>
                <a:ea typeface="+mj-ea"/>
                <a:cs typeface="+mj-cs"/>
              </a:rPr>
              <a:t>Clustering</a:t>
            </a:r>
            <a:endParaRPr kumimoji="0" lang="x-none" sz="4000" b="1" i="0" u="none" strike="noStrike" kern="0" cap="none" spc="0" normalizeH="0" baseline="0" noProof="0" dirty="0">
              <a:ln>
                <a:noFill/>
              </a:ln>
              <a:solidFill>
                <a:srgbClr val="007934"/>
              </a:solidFill>
              <a:effectLst/>
              <a:uLnTx/>
              <a:uFillTx/>
              <a:latin typeface="Trebuchet MS" pitchFamily="34" charset="0"/>
              <a:ea typeface="+mj-ea"/>
              <a:cs typeface="+mj-cs"/>
            </a:endParaRPr>
          </a:p>
        </p:txBody>
      </p:sp>
    </p:spTree>
    <p:extLst>
      <p:ext uri="{BB962C8B-B14F-4D97-AF65-F5344CB8AC3E}">
        <p14:creationId xmlns:p14="http://schemas.microsoft.com/office/powerpoint/2010/main" val="8981676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ángulo 21">
            <a:hlinkClick r:id="rId3" action="ppaction://hlinksldjump"/>
            <a:extLst>
              <a:ext uri="{FF2B5EF4-FFF2-40B4-BE49-F238E27FC236}">
                <a16:creationId xmlns:a16="http://schemas.microsoft.com/office/drawing/2014/main" id="{D74CF98F-7C90-458D-9C1B-84ACBD608615}"/>
              </a:ext>
            </a:extLst>
          </p:cNvPr>
          <p:cNvSpPr/>
          <p:nvPr/>
        </p:nvSpPr>
        <p:spPr>
          <a:xfrm>
            <a:off x="11126560" y="22705"/>
            <a:ext cx="942535" cy="534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2" name="Imagen 1"/>
          <p:cNvPicPr>
            <a:picLocks noChangeAspect="1"/>
          </p:cNvPicPr>
          <p:nvPr/>
        </p:nvPicPr>
        <p:blipFill>
          <a:blip r:embed="rId4"/>
          <a:stretch>
            <a:fillRect/>
          </a:stretch>
        </p:blipFill>
        <p:spPr>
          <a:xfrm>
            <a:off x="1669131" y="411581"/>
            <a:ext cx="8706873" cy="5588166"/>
          </a:xfrm>
          <a:prstGeom prst="rect">
            <a:avLst/>
          </a:prstGeom>
        </p:spPr>
      </p:pic>
    </p:spTree>
    <p:extLst>
      <p:ext uri="{BB962C8B-B14F-4D97-AF65-F5344CB8AC3E}">
        <p14:creationId xmlns:p14="http://schemas.microsoft.com/office/powerpoint/2010/main" val="10480819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a:extLst>
              <a:ext uri="{FF2B5EF4-FFF2-40B4-BE49-F238E27FC236}">
                <a16:creationId xmlns:a16="http://schemas.microsoft.com/office/drawing/2014/main" id="{C86440B3-58DF-4235-8981-CE33DBAF893C}"/>
              </a:ext>
            </a:extLst>
          </p:cNvPr>
          <p:cNvSpPr txBox="1">
            <a:spLocks/>
          </p:cNvSpPr>
          <p:nvPr/>
        </p:nvSpPr>
        <p:spPr>
          <a:xfrm>
            <a:off x="629966" y="302767"/>
            <a:ext cx="11062867"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lvl="0" algn="l">
              <a:defRPr/>
            </a:pPr>
            <a:r>
              <a:rPr lang="es-ES" sz="3200" dirty="0" err="1">
                <a:solidFill>
                  <a:srgbClr val="62AC1E"/>
                </a:solidFill>
                <a:latin typeface="+mn-lt"/>
                <a:ea typeface="+mn-ea"/>
                <a:cs typeface="+mn-cs"/>
              </a:rPr>
              <a:t>Darpa</a:t>
            </a:r>
            <a:r>
              <a:rPr lang="es-ES" sz="3200" dirty="0">
                <a:solidFill>
                  <a:srgbClr val="62AC1E"/>
                </a:solidFill>
                <a:latin typeface="+mn-lt"/>
                <a:ea typeface="+mn-ea"/>
                <a:cs typeface="+mn-cs"/>
              </a:rPr>
              <a:t> Grand </a:t>
            </a:r>
            <a:r>
              <a:rPr lang="es-ES" sz="3200" dirty="0" err="1">
                <a:solidFill>
                  <a:srgbClr val="62AC1E"/>
                </a:solidFill>
                <a:latin typeface="+mn-lt"/>
                <a:ea typeface="+mn-ea"/>
                <a:cs typeface="+mn-cs"/>
              </a:rPr>
              <a:t>Challenge</a:t>
            </a:r>
            <a:r>
              <a:rPr lang="es-ES" sz="3200" dirty="0">
                <a:solidFill>
                  <a:srgbClr val="62AC1E"/>
                </a:solidFill>
                <a:latin typeface="+mn-lt"/>
                <a:ea typeface="+mn-ea"/>
                <a:cs typeface="+mn-cs"/>
              </a:rPr>
              <a:t>: </a:t>
            </a:r>
            <a:r>
              <a:rPr lang="es-ES" sz="3200" dirty="0" smtClean="0">
                <a:solidFill>
                  <a:srgbClr val="62AC1E"/>
                </a:solidFill>
                <a:latin typeface="+mn-lt"/>
                <a:ea typeface="+mn-ea"/>
                <a:cs typeface="+mn-cs"/>
              </a:rPr>
              <a:t>Sucesos</a:t>
            </a:r>
            <a:endParaRPr lang="es-ES" sz="3200" dirty="0">
              <a:solidFill>
                <a:srgbClr val="62AC1E"/>
              </a:solidFill>
              <a:latin typeface="+mn-lt"/>
              <a:ea typeface="+mn-ea"/>
              <a:cs typeface="+mn-cs"/>
            </a:endParaRPr>
          </a:p>
        </p:txBody>
      </p:sp>
      <p:sp>
        <p:nvSpPr>
          <p:cNvPr id="22" name="Rectángulo 21">
            <a:hlinkClick r:id="rId3" action="ppaction://hlinksldjump"/>
            <a:extLst>
              <a:ext uri="{FF2B5EF4-FFF2-40B4-BE49-F238E27FC236}">
                <a16:creationId xmlns:a16="http://schemas.microsoft.com/office/drawing/2014/main" id="{D74CF98F-7C90-458D-9C1B-84ACBD608615}"/>
              </a:ext>
            </a:extLst>
          </p:cNvPr>
          <p:cNvSpPr/>
          <p:nvPr/>
        </p:nvSpPr>
        <p:spPr>
          <a:xfrm>
            <a:off x="11126560" y="22705"/>
            <a:ext cx="942535" cy="534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2" name="Imagen 1"/>
          <p:cNvPicPr>
            <a:picLocks noChangeAspect="1"/>
          </p:cNvPicPr>
          <p:nvPr/>
        </p:nvPicPr>
        <p:blipFill>
          <a:blip r:embed="rId4"/>
          <a:stretch>
            <a:fillRect/>
          </a:stretch>
        </p:blipFill>
        <p:spPr>
          <a:xfrm>
            <a:off x="2546661" y="1233952"/>
            <a:ext cx="7229475" cy="4914900"/>
          </a:xfrm>
          <a:prstGeom prst="rect">
            <a:avLst/>
          </a:prstGeom>
        </p:spPr>
      </p:pic>
    </p:spTree>
    <p:extLst>
      <p:ext uri="{BB962C8B-B14F-4D97-AF65-F5344CB8AC3E}">
        <p14:creationId xmlns:p14="http://schemas.microsoft.com/office/powerpoint/2010/main" val="30748264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a:extLst>
              <a:ext uri="{FF2B5EF4-FFF2-40B4-BE49-F238E27FC236}">
                <a16:creationId xmlns:a16="http://schemas.microsoft.com/office/drawing/2014/main" id="{C86440B3-58DF-4235-8981-CE33DBAF893C}"/>
              </a:ext>
            </a:extLst>
          </p:cNvPr>
          <p:cNvSpPr txBox="1">
            <a:spLocks/>
          </p:cNvSpPr>
          <p:nvPr/>
        </p:nvSpPr>
        <p:spPr>
          <a:xfrm>
            <a:off x="629966" y="302767"/>
            <a:ext cx="11062867"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lvl="0" algn="l">
              <a:defRPr/>
            </a:pPr>
            <a:r>
              <a:rPr lang="es-ES" sz="3200" dirty="0">
                <a:solidFill>
                  <a:srgbClr val="62AC1E"/>
                </a:solidFill>
              </a:rPr>
              <a:t>Darpa</a:t>
            </a:r>
            <a:r>
              <a:rPr lang="es-ES" sz="3200" dirty="0">
                <a:solidFill>
                  <a:srgbClr val="62AC1E"/>
                </a:solidFill>
              </a:rPr>
              <a:t> Grand </a:t>
            </a:r>
            <a:r>
              <a:rPr lang="es-ES" sz="3200" dirty="0" err="1" smtClean="0">
                <a:solidFill>
                  <a:srgbClr val="62AC1E"/>
                </a:solidFill>
              </a:rPr>
              <a:t>Challenge</a:t>
            </a:r>
            <a:r>
              <a:rPr lang="es-ES" sz="3200" dirty="0">
                <a:solidFill>
                  <a:srgbClr val="62AC1E"/>
                </a:solidFill>
              </a:rPr>
              <a:t> </a:t>
            </a:r>
            <a:r>
              <a:rPr lang="es-ES" sz="3200" dirty="0" smtClean="0">
                <a:solidFill>
                  <a:srgbClr val="62AC1E"/>
                </a:solidFill>
              </a:rPr>
              <a:t>2005</a:t>
            </a:r>
            <a:endParaRPr lang="es-ES" sz="3200" dirty="0">
              <a:solidFill>
                <a:srgbClr val="62AC1E"/>
              </a:solidFill>
            </a:endParaRPr>
          </a:p>
        </p:txBody>
      </p:sp>
      <p:sp>
        <p:nvSpPr>
          <p:cNvPr id="22" name="Rectángulo 21">
            <a:hlinkClick r:id="rId3" action="ppaction://hlinksldjump"/>
            <a:extLst>
              <a:ext uri="{FF2B5EF4-FFF2-40B4-BE49-F238E27FC236}">
                <a16:creationId xmlns:a16="http://schemas.microsoft.com/office/drawing/2014/main" id="{D74CF98F-7C90-458D-9C1B-84ACBD608615}"/>
              </a:ext>
            </a:extLst>
          </p:cNvPr>
          <p:cNvSpPr/>
          <p:nvPr/>
        </p:nvSpPr>
        <p:spPr>
          <a:xfrm>
            <a:off x="11126560" y="22705"/>
            <a:ext cx="942535" cy="534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2" name="Imagen 1"/>
          <p:cNvPicPr>
            <a:picLocks noChangeAspect="1"/>
          </p:cNvPicPr>
          <p:nvPr/>
        </p:nvPicPr>
        <p:blipFill>
          <a:blip r:embed="rId4"/>
          <a:stretch>
            <a:fillRect/>
          </a:stretch>
        </p:blipFill>
        <p:spPr>
          <a:xfrm>
            <a:off x="2669757" y="953890"/>
            <a:ext cx="6490285" cy="4970609"/>
          </a:xfrm>
          <a:prstGeom prst="rect">
            <a:avLst/>
          </a:prstGeom>
        </p:spPr>
      </p:pic>
    </p:spTree>
    <p:extLst>
      <p:ext uri="{BB962C8B-B14F-4D97-AF65-F5344CB8AC3E}">
        <p14:creationId xmlns:p14="http://schemas.microsoft.com/office/powerpoint/2010/main" val="394261285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a:extLst>
              <a:ext uri="{FF2B5EF4-FFF2-40B4-BE49-F238E27FC236}">
                <a16:creationId xmlns:a16="http://schemas.microsoft.com/office/drawing/2014/main" id="{C86440B3-58DF-4235-8981-CE33DBAF893C}"/>
              </a:ext>
            </a:extLst>
          </p:cNvPr>
          <p:cNvSpPr txBox="1">
            <a:spLocks/>
          </p:cNvSpPr>
          <p:nvPr/>
        </p:nvSpPr>
        <p:spPr>
          <a:xfrm>
            <a:off x="629966" y="302767"/>
            <a:ext cx="11062867" cy="651123"/>
          </a:xfrm>
          <a:prstGeom prst="rect">
            <a:avLst/>
          </a:prstGeom>
        </p:spPr>
        <p:txBody>
          <a:bodyPr anchor="t">
            <a:noAutofit/>
          </a:bodyPr>
          <a:lstStyle>
            <a:lvl1pPr algn="ctr" defTabSz="914400" rtl="0" eaLnBrk="1" latinLnBrk="0" hangingPunct="1">
              <a:lnSpc>
                <a:spcPts val="4000"/>
              </a:lnSpc>
              <a:spcBef>
                <a:spcPct val="0"/>
              </a:spcBef>
              <a:buNone/>
              <a:defRPr lang="es-CO" sz="4000" b="1" kern="1200" baseline="0" dirty="0">
                <a:solidFill>
                  <a:srgbClr val="007934"/>
                </a:solidFill>
                <a:latin typeface="Trebuchet MS" pitchFamily="34" charset="0"/>
                <a:ea typeface="+mj-ea"/>
                <a:cs typeface="+mj-cs"/>
              </a:defRPr>
            </a:lvl1pPr>
          </a:lstStyle>
          <a:p>
            <a:pPr marL="0" marR="0" lvl="0" indent="0" algn="l" defTabSz="914400" rtl="0" eaLnBrk="1" fontAlgn="auto" latinLnBrk="0" hangingPunct="1">
              <a:lnSpc>
                <a:spcPts val="4000"/>
              </a:lnSpc>
              <a:spcBef>
                <a:spcPct val="0"/>
              </a:spcBef>
              <a:spcAft>
                <a:spcPts val="0"/>
              </a:spcAft>
              <a:buClrTx/>
              <a:buSzTx/>
              <a:buFontTx/>
              <a:buNone/>
              <a:tabLst/>
              <a:defRPr/>
            </a:pPr>
            <a:r>
              <a:rPr lang="es-ES" sz="3200" dirty="0" smtClean="0">
                <a:solidFill>
                  <a:srgbClr val="62AC1E"/>
                </a:solidFill>
                <a:latin typeface="+mn-lt"/>
                <a:ea typeface="+mn-ea"/>
                <a:cs typeface="+mn-cs"/>
              </a:rPr>
              <a:t>El ganador: Stanley</a:t>
            </a:r>
            <a:endParaRPr lang="es-ES" sz="3200" dirty="0">
              <a:solidFill>
                <a:srgbClr val="62AC1E"/>
              </a:solidFill>
              <a:latin typeface="+mn-lt"/>
              <a:ea typeface="+mn-ea"/>
              <a:cs typeface="+mn-cs"/>
            </a:endParaRPr>
          </a:p>
        </p:txBody>
      </p:sp>
      <p:sp>
        <p:nvSpPr>
          <p:cNvPr id="22" name="Rectángulo 21">
            <a:hlinkClick r:id="rId3" action="ppaction://hlinksldjump"/>
            <a:extLst>
              <a:ext uri="{FF2B5EF4-FFF2-40B4-BE49-F238E27FC236}">
                <a16:creationId xmlns:a16="http://schemas.microsoft.com/office/drawing/2014/main" id="{D74CF98F-7C90-458D-9C1B-84ACBD608615}"/>
              </a:ext>
            </a:extLst>
          </p:cNvPr>
          <p:cNvSpPr/>
          <p:nvPr/>
        </p:nvSpPr>
        <p:spPr>
          <a:xfrm>
            <a:off x="11126560" y="22705"/>
            <a:ext cx="942535" cy="534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2" name="Imagen 1"/>
          <p:cNvPicPr>
            <a:picLocks noChangeAspect="1"/>
          </p:cNvPicPr>
          <p:nvPr/>
        </p:nvPicPr>
        <p:blipFill>
          <a:blip r:embed="rId4"/>
          <a:stretch>
            <a:fillRect/>
          </a:stretch>
        </p:blipFill>
        <p:spPr>
          <a:xfrm>
            <a:off x="2288005" y="953890"/>
            <a:ext cx="8552833" cy="5158152"/>
          </a:xfrm>
          <a:prstGeom prst="rect">
            <a:avLst/>
          </a:prstGeom>
        </p:spPr>
      </p:pic>
    </p:spTree>
    <p:extLst>
      <p:ext uri="{BB962C8B-B14F-4D97-AF65-F5344CB8AC3E}">
        <p14:creationId xmlns:p14="http://schemas.microsoft.com/office/powerpoint/2010/main" val="8916644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antilla institucional">
  <a:themeElements>
    <a:clrScheme name="Corporativo 1">
      <a:dk1>
        <a:srgbClr val="2C2C2C"/>
      </a:dk1>
      <a:lt1>
        <a:srgbClr val="2C2C2C"/>
      </a:lt1>
      <a:dk2>
        <a:srgbClr val="FFFFFF"/>
      </a:dk2>
      <a:lt2>
        <a:srgbClr val="FFFFFF"/>
      </a:lt2>
      <a:accent1>
        <a:srgbClr val="92D050"/>
      </a:accent1>
      <a:accent2>
        <a:srgbClr val="595959"/>
      </a:accent2>
      <a:accent3>
        <a:srgbClr val="00B050"/>
      </a:accent3>
      <a:accent4>
        <a:srgbClr val="7F7F7F"/>
      </a:accent4>
      <a:accent5>
        <a:srgbClr val="D0EEB8"/>
      </a:accent5>
      <a:accent6>
        <a:srgbClr val="A5A5A5"/>
      </a:accent6>
      <a:hlink>
        <a:srgbClr val="92D050"/>
      </a:hlink>
      <a:folHlink>
        <a:srgbClr val="92D050"/>
      </a:folHlink>
    </a:clrScheme>
    <a:fontScheme name="Multimedia corporativa">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marL="0" marR="0" indent="0" algn="l" defTabSz="914400" rtl="0" eaLnBrk="1" fontAlgn="auto" latinLnBrk="0" hangingPunct="1">
          <a:lnSpc>
            <a:spcPct val="100000"/>
          </a:lnSpc>
          <a:spcBef>
            <a:spcPct val="0"/>
          </a:spcBef>
          <a:spcAft>
            <a:spcPts val="0"/>
          </a:spcAft>
          <a:buClrTx/>
          <a:buSzTx/>
          <a:buFontTx/>
          <a:buNone/>
          <a:tabLst/>
          <a:defRPr kumimoji="0" sz="1400" b="0" i="1" u="none" strike="noStrike" kern="1200" cap="none" spc="0" normalizeH="0" baseline="0" noProof="0" dirty="0" smtClean="0">
            <a:ln>
              <a:noFill/>
            </a:ln>
            <a:solidFill>
              <a:schemeClr val="accent6"/>
            </a:solidFill>
            <a:effectLst/>
            <a:uLnTx/>
            <a:uFillTx/>
            <a:latin typeface="+mj-lt"/>
            <a:ea typeface="+mj-ea"/>
            <a:cs typeface="+mj-cs"/>
          </a:defRPr>
        </a:defPPr>
      </a:lstStyle>
    </a:txDef>
  </a:objectDefaults>
  <a:extraClrSchemeLst/>
</a:theme>
</file>

<file path=ppt/theme/theme2.xml><?xml version="1.0" encoding="utf-8"?>
<a:theme xmlns:a="http://schemas.openxmlformats.org/drawingml/2006/main" name="5_Blank">
  <a:themeElements>
    <a:clrScheme name="Teme de Office">
      <a:dk1>
        <a:srgbClr val="000000"/>
      </a:dk1>
      <a:lt1>
        <a:srgbClr val="FFFFFF"/>
      </a:lt1>
      <a:dk2>
        <a:srgbClr val="000000"/>
      </a:dk2>
      <a:lt2>
        <a:srgbClr val="FFFFFF"/>
      </a:lt2>
      <a:accent1>
        <a:srgbClr val="92D050"/>
      </a:accent1>
      <a:accent2>
        <a:srgbClr val="9BBB59"/>
      </a:accent2>
      <a:accent3>
        <a:srgbClr val="007934"/>
      </a:accent3>
      <a:accent4>
        <a:srgbClr val="64E032"/>
      </a:accent4>
      <a:accent5>
        <a:srgbClr val="D9D9D9"/>
      </a:accent5>
      <a:accent6>
        <a:srgbClr val="7F7F7F"/>
      </a:accent6>
      <a:hlink>
        <a:srgbClr val="5DBF0C"/>
      </a:hlink>
      <a:folHlink>
        <a:srgbClr val="BFD9AA"/>
      </a:folHlink>
    </a:clrScheme>
    <a:fontScheme name="nachsehen">
      <a:majorFont>
        <a:latin typeface="Book Antiqu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1"/>
          </a:solidFill>
        </a:ln>
      </a:spPr>
      <a:bodyPr rtlCol="0" anchor="ctr">
        <a:noAutofit/>
      </a:bodyPr>
      <a:lstStyle>
        <a:defPPr algn="ctr">
          <a:defRPr sz="1200" dirty="0">
            <a:latin typeface="+mn-lt"/>
          </a:defRPr>
        </a:defPPr>
      </a:lstStyle>
      <a:style>
        <a:lnRef idx="1">
          <a:schemeClr val="accent1"/>
        </a:lnRef>
        <a:fillRef idx="0">
          <a:schemeClr val="accent1"/>
        </a:fillRef>
        <a:effectRef idx="0">
          <a:schemeClr val="accent1"/>
        </a:effectRef>
        <a:fontRef idx="minor">
          <a:schemeClr val="tx1"/>
        </a:fontRef>
      </a:style>
    </a:spDef>
    <a:lnDef>
      <a:spPr>
        <a:ln>
          <a:solidFill>
            <a:srgbClr val="000000"/>
          </a:solidFill>
          <a:tailEnd type="none" w="med" len="sm"/>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spAutoFit/>
      </a:bodyPr>
      <a:lstStyle>
        <a:defPPr>
          <a:defRPr sz="1200" dirty="0" smtClean="0">
            <a:latin typeface="Arial" pitchFamily="34" charset="0"/>
            <a:cs typeface="Arial" pitchFamily="34" charset="0"/>
          </a:defRPr>
        </a:defPPr>
      </a:lstStyle>
    </a:txDef>
  </a:objectDefaults>
  <a:extraClrSchemeLst/>
  <a:custClrLst>
    <a:custClr name="Grey 3">
      <a:srgbClr val="939393"/>
    </a:custClr>
    <a:custClr name="Grey 4">
      <a:srgbClr val="696969"/>
    </a:custClr>
    <a:custClr name="Green 1">
      <a:srgbClr val="DAF0A8"/>
    </a:custClr>
    <a:custClr name="Green 2">
      <a:srgbClr val="AFE06E"/>
    </a:custClr>
    <a:custClr name="Green 3">
      <a:srgbClr val="7DB935"/>
    </a:custClr>
    <a:custClr name="Green 4">
      <a:srgbClr val="608B2D"/>
    </a:custClr>
    <a:custClr name="Orange 1">
      <a:srgbClr val="F3CF74"/>
    </a:custClr>
    <a:custClr name="Orange 2">
      <a:srgbClr val="EFB643"/>
    </a:custClr>
    <a:custClr name="Orange 3">
      <a:srgbClr val="F18917"/>
    </a:custClr>
    <a:custClr name="Orange 4">
      <a:srgbClr val="D26308"/>
    </a:custClr>
  </a:custClrLst>
</a:theme>
</file>

<file path=ppt/theme/theme3.xml><?xml version="1.0" encoding="utf-8"?>
<a:theme xmlns:a="http://schemas.openxmlformats.org/drawingml/2006/main" name="Retrospección">
  <a:themeElements>
    <a:clrScheme name="Retrospección">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Retrospección">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ción">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A3A77006B52DAE479EDCA45397104C6D" ma:contentTypeVersion="0" ma:contentTypeDescription="Crear nuevo documento." ma:contentTypeScope="" ma:versionID="1d5e4d0c9f2ca0385cda642984fdee10">
  <xsd:schema xmlns:xsd="http://www.w3.org/2001/XMLSchema" xmlns:xs="http://www.w3.org/2001/XMLSchema" xmlns:p="http://schemas.microsoft.com/office/2006/metadata/properties" targetNamespace="http://schemas.microsoft.com/office/2006/metadata/properties" ma:root="true" ma:fieldsID="d862155b8c2175af2e136a616ab51fd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5540788-C95A-439C-BA9C-2C7D013C7AB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4A5A0B62-3196-42D6-A6BE-E8D51EA2905E}">
  <ds:schemaRefs>
    <ds:schemaRef ds:uri="http://schemas.microsoft.com/sharepoint/v3/contenttype/forms"/>
  </ds:schemaRefs>
</ds:datastoreItem>
</file>

<file path=customXml/itemProps3.xml><?xml version="1.0" encoding="utf-8"?>
<ds:datastoreItem xmlns:ds="http://schemas.openxmlformats.org/officeDocument/2006/customXml" ds:itemID="{3B2999D4-DE72-4FE9-8950-5CEB8C0FF5F3}">
  <ds:schemaRefs>
    <ds:schemaRef ds:uri="http://schemas.openxmlformats.org/package/2006/metadata/core-properties"/>
    <ds:schemaRef ds:uri="http://schemas.microsoft.com/office/2006/documentManagement/types"/>
    <ds:schemaRef ds:uri="http://purl.org/dc/terms/"/>
    <ds:schemaRef ds:uri="http://purl.org/dc/dcmitype/"/>
    <ds:schemaRef ds:uri="http://schemas.microsoft.com/office/2006/metadata/properties"/>
    <ds:schemaRef ds:uri="http://schemas.microsoft.com/office/infopath/2007/PartnerControl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4253</TotalTime>
  <Words>2700</Words>
  <Application>Microsoft Office PowerPoint</Application>
  <PresentationFormat>Panorámica</PresentationFormat>
  <Paragraphs>387</Paragraphs>
  <Slides>52</Slides>
  <Notes>39</Notes>
  <HiddenSlides>0</HiddenSlides>
  <MMClips>0</MMClips>
  <ScaleCrop>false</ScaleCrop>
  <HeadingPairs>
    <vt:vector size="8" baseType="variant">
      <vt:variant>
        <vt:lpstr>Fuentes usadas</vt:lpstr>
      </vt:variant>
      <vt:variant>
        <vt:i4>13</vt:i4>
      </vt:variant>
      <vt:variant>
        <vt:lpstr>Tema</vt:lpstr>
      </vt:variant>
      <vt:variant>
        <vt:i4>3</vt:i4>
      </vt:variant>
      <vt:variant>
        <vt:lpstr>Servidores OLE incrustados</vt:lpstr>
      </vt:variant>
      <vt:variant>
        <vt:i4>1</vt:i4>
      </vt:variant>
      <vt:variant>
        <vt:lpstr>Títulos de diapositiva</vt:lpstr>
      </vt:variant>
      <vt:variant>
        <vt:i4>52</vt:i4>
      </vt:variant>
    </vt:vector>
  </HeadingPairs>
  <TitlesOfParts>
    <vt:vector size="69" baseType="lpstr">
      <vt:lpstr>Arial</vt:lpstr>
      <vt:lpstr>Calibri</vt:lpstr>
      <vt:lpstr>Calibri Light</vt:lpstr>
      <vt:lpstr>Courier New</vt:lpstr>
      <vt:lpstr>Lato Light</vt:lpstr>
      <vt:lpstr>Open Sans</vt:lpstr>
      <vt:lpstr>Roboto Slab</vt:lpstr>
      <vt:lpstr>Roboto Slab Light</vt:lpstr>
      <vt:lpstr>Roboto Thin</vt:lpstr>
      <vt:lpstr>Segoe Print</vt:lpstr>
      <vt:lpstr>Times New Roman</vt:lpstr>
      <vt:lpstr>Trebuchet MS</vt:lpstr>
      <vt:lpstr>Wingdings</vt:lpstr>
      <vt:lpstr>plantilla institucional</vt:lpstr>
      <vt:lpstr>5_Blank</vt:lpstr>
      <vt:lpstr>Retrospección</vt:lpstr>
      <vt:lpstr>think-cell Slid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an Carlos García Díaz</dc:creator>
  <cp:lastModifiedBy>Juan Carlos García Díaz</cp:lastModifiedBy>
  <cp:revision>304</cp:revision>
  <dcterms:modified xsi:type="dcterms:W3CDTF">2024-07-19T02:2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A77006B52DAE479EDCA45397104C6D</vt:lpwstr>
  </property>
</Properties>
</file>